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avi" ContentType="video/x-msvide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4"/>
  </p:notesMasterIdLst>
  <p:sldIdLst>
    <p:sldId id="257" r:id="rId2"/>
    <p:sldId id="380" r:id="rId3"/>
    <p:sldId id="289" r:id="rId4"/>
    <p:sldId id="385" r:id="rId5"/>
    <p:sldId id="407" r:id="rId6"/>
    <p:sldId id="388" r:id="rId7"/>
    <p:sldId id="403" r:id="rId8"/>
    <p:sldId id="391" r:id="rId9"/>
    <p:sldId id="392" r:id="rId10"/>
    <p:sldId id="393" r:id="rId11"/>
    <p:sldId id="394" r:id="rId12"/>
    <p:sldId id="395" r:id="rId13"/>
    <p:sldId id="331" r:id="rId14"/>
    <p:sldId id="397" r:id="rId15"/>
    <p:sldId id="398" r:id="rId16"/>
    <p:sldId id="340" r:id="rId17"/>
    <p:sldId id="389" r:id="rId18"/>
    <p:sldId id="390" r:id="rId19"/>
    <p:sldId id="408" r:id="rId20"/>
    <p:sldId id="302" r:id="rId21"/>
    <p:sldId id="309" r:id="rId22"/>
    <p:sldId id="310" r:id="rId23"/>
    <p:sldId id="301" r:id="rId24"/>
    <p:sldId id="298" r:id="rId25"/>
    <p:sldId id="299" r:id="rId26"/>
    <p:sldId id="400" r:id="rId27"/>
    <p:sldId id="401" r:id="rId28"/>
    <p:sldId id="343" r:id="rId29"/>
    <p:sldId id="344" r:id="rId30"/>
    <p:sldId id="345" r:id="rId31"/>
    <p:sldId id="346" r:id="rId32"/>
    <p:sldId id="406" r:id="rId33"/>
    <p:sldId id="348" r:id="rId34"/>
    <p:sldId id="349" r:id="rId35"/>
    <p:sldId id="350" r:id="rId36"/>
    <p:sldId id="351" r:id="rId37"/>
    <p:sldId id="354" r:id="rId38"/>
    <p:sldId id="355" r:id="rId39"/>
    <p:sldId id="356" r:id="rId40"/>
    <p:sldId id="357" r:id="rId41"/>
    <p:sldId id="358" r:id="rId42"/>
    <p:sldId id="360" r:id="rId43"/>
    <p:sldId id="361" r:id="rId44"/>
    <p:sldId id="404" r:id="rId45"/>
    <p:sldId id="362" r:id="rId46"/>
    <p:sldId id="363" r:id="rId47"/>
    <p:sldId id="364" r:id="rId48"/>
    <p:sldId id="365" r:id="rId49"/>
    <p:sldId id="366" r:id="rId50"/>
    <p:sldId id="367" r:id="rId51"/>
    <p:sldId id="368" r:id="rId52"/>
    <p:sldId id="405" r:id="rId53"/>
    <p:sldId id="369" r:id="rId54"/>
    <p:sldId id="370" r:id="rId55"/>
    <p:sldId id="339" r:id="rId56"/>
    <p:sldId id="372" r:id="rId57"/>
    <p:sldId id="373" r:id="rId58"/>
    <p:sldId id="374" r:id="rId59"/>
    <p:sldId id="375" r:id="rId60"/>
    <p:sldId id="409" r:id="rId61"/>
    <p:sldId id="376" r:id="rId62"/>
    <p:sldId id="377" r:id="rId6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91" autoAdjust="0"/>
    <p:restoredTop sz="94649" autoAdjust="0"/>
  </p:normalViewPr>
  <p:slideViewPr>
    <p:cSldViewPr>
      <p:cViewPr varScale="1">
        <p:scale>
          <a:sx n="84" d="100"/>
          <a:sy n="84" d="100"/>
        </p:scale>
        <p:origin x="1506" y="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704558-9B30-4486-A5D5-9ECF94789126}" type="datetimeFigureOut">
              <a:rPr lang="en-IE" smtClean="0"/>
              <a:t>09/05/2016</a:t>
            </a:fld>
            <a:endParaRPr lang="en-I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A0340E-F1C1-4485-B9F3-BD58C845B10E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7362909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32D1160-BEAE-4442-85BB-7F95D882888D}" type="slidenum">
              <a:rPr lang="en-GB" smtClean="0">
                <a:solidFill>
                  <a:prstClr val="black"/>
                </a:solidFill>
              </a:rPr>
              <a:pPr eaLnBrk="1" hangingPunct="1"/>
              <a:t>1</a:t>
            </a:fld>
            <a:endParaRPr lang="en-GB" dirty="0" smtClean="0">
              <a:solidFill>
                <a:prstClr val="black"/>
              </a:solidFill>
            </a:endParaRPr>
          </a:p>
        </p:txBody>
      </p:sp>
      <p:sp>
        <p:nvSpPr>
          <p:cNvPr id="675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1413" y="685800"/>
            <a:ext cx="4572000" cy="3429000"/>
          </a:xfrm>
          <a:ln/>
        </p:spPr>
      </p:sp>
      <p:sp>
        <p:nvSpPr>
          <p:cNvPr id="675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8217622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ED2AC5FE-98EC-4F41-BE43-FB7D304F8FFE}" type="slidenum">
              <a:rPr lang="en-GB" smtClean="0"/>
              <a:pPr eaLnBrk="1" hangingPunct="1"/>
              <a:t>46</a:t>
            </a:fld>
            <a:endParaRPr lang="en-GB" dirty="0" smtClean="0"/>
          </a:p>
        </p:txBody>
      </p:sp>
      <p:sp>
        <p:nvSpPr>
          <p:cNvPr id="74755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4756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 lIns="91422" tIns="45712" rIns="91422" bIns="45712"/>
          <a:lstStyle/>
          <a:p>
            <a:pPr eaLnBrk="1" hangingPunct="1">
              <a:spcBef>
                <a:spcPct val="0"/>
              </a:spcBef>
            </a:pPr>
            <a:endParaRPr lang="en-IE" dirty="0" smtClean="0"/>
          </a:p>
        </p:txBody>
      </p:sp>
      <p:sp>
        <p:nvSpPr>
          <p:cNvPr id="25604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2" rIns="91422" bIns="45712" anchor="b"/>
          <a:lstStyle/>
          <a:p>
            <a:pPr algn="r">
              <a:defRPr/>
            </a:pPr>
            <a:fld id="{7AD7BAB4-49DB-4349-B3F0-798E17636D61}" type="slidenum">
              <a:rPr lang="en-IE" sz="1200">
                <a:latin typeface="+mn-lt"/>
              </a:rPr>
              <a:pPr algn="r">
                <a:defRPr/>
              </a:pPr>
              <a:t>46</a:t>
            </a:fld>
            <a:endParaRPr lang="en-IE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5208534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1F4725B9-86DA-4F21-B9BD-EF50CCFA1B33}" type="slidenum">
              <a:rPr lang="en-GB" smtClean="0"/>
              <a:pPr eaLnBrk="1" hangingPunct="1"/>
              <a:t>47</a:t>
            </a:fld>
            <a:endParaRPr lang="en-GB" dirty="0" smtClean="0"/>
          </a:p>
        </p:txBody>
      </p:sp>
      <p:sp>
        <p:nvSpPr>
          <p:cNvPr id="79875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9876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 lIns="91422" tIns="45712" rIns="91422" bIns="45712"/>
          <a:lstStyle/>
          <a:p>
            <a:pPr eaLnBrk="1" hangingPunct="1">
              <a:spcBef>
                <a:spcPct val="0"/>
              </a:spcBef>
            </a:pPr>
            <a:endParaRPr lang="en-IE" dirty="0" smtClean="0"/>
          </a:p>
        </p:txBody>
      </p:sp>
      <p:sp>
        <p:nvSpPr>
          <p:cNvPr id="30724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2" rIns="91422" bIns="45712" anchor="b"/>
          <a:lstStyle/>
          <a:p>
            <a:pPr algn="r">
              <a:defRPr/>
            </a:pPr>
            <a:fld id="{1026E6C5-850B-4897-A54E-ACED9733D1C0}" type="slidenum">
              <a:rPr lang="en-IE" sz="1200">
                <a:latin typeface="+mn-lt"/>
              </a:rPr>
              <a:pPr algn="r">
                <a:defRPr/>
              </a:pPr>
              <a:t>47</a:t>
            </a:fld>
            <a:endParaRPr lang="en-IE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007215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Rectangle 1"/>
          <p:cNvSpPr>
            <a:spLocks noGrp="1" noRot="1" noChangeAspect="1" noChangeArrowheads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11266" name="Rectangle 2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marL="41264">
              <a:spcBef>
                <a:spcPts val="475"/>
              </a:spcBef>
            </a:pPr>
            <a:endParaRPr lang="en-US" alt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78819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 smtClean="0"/>
              <a:t>Why</a:t>
            </a:r>
            <a:r>
              <a:rPr lang="en-AU" baseline="0" dirty="0" smtClean="0"/>
              <a:t> do we need standards?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714C7B-C83E-4FD9-8EFF-73E5B0E2AB7B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06992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 smtClean="0"/>
              <a:t>This is paediatric</a:t>
            </a:r>
            <a:r>
              <a:rPr lang="en-AU" baseline="0" dirty="0" smtClean="0"/>
              <a:t> product from Belgium, look at all the different flags and sides – imagine you were a nurse on a ward and you were presented with this product. You would have to look for your country’s flag and then scan the bar code related to that or use the identifier.  I would be very easy to make mistakes.  And then consider the supplier – how expensive and difficult has it been to engineer that packaging.  The other product is  a medical device from The Netherlands – if you were scanning this in the operating theatre in a high pressure environment which bar code would you choose?  there </a:t>
            </a:r>
            <a:r>
              <a:rPr lang="en-AU" baseline="0" smtClean="0"/>
              <a:t>i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714C7B-C83E-4FD9-8EFF-73E5B0E2AB7B}" type="slidenum">
              <a:rPr lang="en-GB" smtClean="0"/>
              <a:pPr>
                <a:defRPr/>
              </a:pPr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69556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 smtClean="0"/>
              <a:t>Why</a:t>
            </a:r>
            <a:r>
              <a:rPr lang="en-AU" baseline="0" dirty="0" smtClean="0"/>
              <a:t> do we need standards?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714C7B-C83E-4FD9-8EFF-73E5B0E2AB7B}" type="slidenum">
              <a:rPr lang="en-GB" smtClean="0"/>
              <a:pPr>
                <a:defRPr/>
              </a:pPr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23425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 smtClean="0"/>
              <a:t>Why</a:t>
            </a:r>
            <a:r>
              <a:rPr lang="en-AU" baseline="0" dirty="0" smtClean="0"/>
              <a:t> do we need standards?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714C7B-C83E-4FD9-8EFF-73E5B0E2AB7B}" type="slidenum">
              <a:rPr lang="en-GB" smtClean="0"/>
              <a:pPr>
                <a:defRPr/>
              </a:pPr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06336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B1204450-97E1-43FF-87B2-85B0CBAD4B6F}" type="slidenum">
              <a:rPr lang="en-GB" smtClean="0"/>
              <a:pPr eaLnBrk="1" hangingPunct="1"/>
              <a:t>37</a:t>
            </a:fld>
            <a:endParaRPr lang="en-GB" smtClean="0"/>
          </a:p>
        </p:txBody>
      </p:sp>
      <p:sp>
        <p:nvSpPr>
          <p:cNvPr id="686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861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8659091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95F65541-3083-4E6F-A291-20E0FD935EAD}" type="slidenum">
              <a:rPr lang="en-GB" smtClean="0"/>
              <a:pPr eaLnBrk="1" hangingPunct="1"/>
              <a:t>39</a:t>
            </a:fld>
            <a:endParaRPr lang="en-GB" smtClean="0"/>
          </a:p>
        </p:txBody>
      </p:sp>
      <p:sp>
        <p:nvSpPr>
          <p:cNvPr id="69635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9636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4988"/>
            <a:ext cx="5486400" cy="4113212"/>
          </a:xfrm>
          <a:noFill/>
        </p:spPr>
        <p:txBody>
          <a:bodyPr lIns="87472" tIns="43736" rIns="87472" bIns="43736"/>
          <a:lstStyle/>
          <a:p>
            <a:pPr defTabSz="912813" eaLnBrk="1" hangingPunct="1">
              <a:spcBef>
                <a:spcPct val="0"/>
              </a:spcBef>
            </a:pPr>
            <a:r>
              <a:rPr lang="en-US" b="1" smtClean="0">
                <a:solidFill>
                  <a:schemeClr val="tx2"/>
                </a:solidFill>
              </a:rPr>
              <a:t>GS1 Standards make it possible </a:t>
            </a:r>
            <a:r>
              <a:rPr lang="en-US" smtClean="0"/>
              <a:t>for companies to speak the same language and connect with each other by identifying, capturing, and sharing information about products, business locations, and more.</a:t>
            </a:r>
          </a:p>
          <a:p>
            <a:pPr defTabSz="912813" eaLnBrk="1" hangingPunct="1">
              <a:spcBef>
                <a:spcPct val="0"/>
              </a:spcBef>
            </a:pPr>
            <a:endParaRPr lang="en-IE" smtClean="0"/>
          </a:p>
        </p:txBody>
      </p:sp>
      <p:sp>
        <p:nvSpPr>
          <p:cNvPr id="69637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7472" tIns="43736" rIns="87472" bIns="43736" anchor="b"/>
          <a:lstStyle>
            <a:lvl1pPr defTabSz="873125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73125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73125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73125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73125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fld id="{3D1E073F-A81C-4843-ADAF-04B74D6732B1}" type="slidenum">
              <a:rPr lang="en-IE" sz="1100">
                <a:solidFill>
                  <a:srgbClr val="000000"/>
                </a:solidFill>
                <a:latin typeface="Calibri" pitchFamily="34" charset="0"/>
                <a:cs typeface="Arial" charset="0"/>
              </a:rPr>
              <a:pPr algn="r" eaLnBrk="1" hangingPunct="1"/>
              <a:t>39</a:t>
            </a:fld>
            <a:endParaRPr lang="en-IE" sz="110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80422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CFD5DB6B-6212-4D52-85CB-BC4E47D30046}" type="slidenum">
              <a:rPr lang="en-GB" smtClean="0"/>
              <a:pPr eaLnBrk="1" hangingPunct="1"/>
              <a:t>43</a:t>
            </a:fld>
            <a:endParaRPr lang="en-GB" dirty="0" smtClean="0"/>
          </a:p>
        </p:txBody>
      </p:sp>
      <p:sp>
        <p:nvSpPr>
          <p:cNvPr id="70659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0660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 lIns="91422" tIns="45712" rIns="91422" bIns="45712"/>
          <a:lstStyle/>
          <a:p>
            <a:pPr eaLnBrk="1" hangingPunct="1">
              <a:spcBef>
                <a:spcPct val="0"/>
              </a:spcBef>
            </a:pPr>
            <a:endParaRPr lang="en-IE" dirty="0" smtClean="0"/>
          </a:p>
        </p:txBody>
      </p:sp>
      <p:sp>
        <p:nvSpPr>
          <p:cNvPr id="19460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2" rIns="91422" bIns="45712" anchor="b"/>
          <a:lstStyle/>
          <a:p>
            <a:pPr algn="r">
              <a:defRPr/>
            </a:pPr>
            <a:fld id="{7C4FB438-AE8B-4095-8B90-AC97A8711125}" type="slidenum">
              <a:rPr lang="en-IE" sz="1200">
                <a:latin typeface="+mn-lt"/>
              </a:rPr>
              <a:pPr algn="r">
                <a:defRPr/>
              </a:pPr>
              <a:t>43</a:t>
            </a:fld>
            <a:endParaRPr lang="en-IE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300309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48DE81FC-548E-412F-B9A3-1C396ADF7497}" type="slidenum">
              <a:rPr lang="en-GB" smtClean="0"/>
              <a:pPr eaLnBrk="1" hangingPunct="1"/>
              <a:t>45</a:t>
            </a:fld>
            <a:endParaRPr lang="en-GB" dirty="0" smtClean="0"/>
          </a:p>
        </p:txBody>
      </p:sp>
      <p:sp>
        <p:nvSpPr>
          <p:cNvPr id="72707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2708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 lIns="91422" tIns="45712" rIns="91422" bIns="45712"/>
          <a:lstStyle/>
          <a:p>
            <a:pPr eaLnBrk="1" hangingPunct="1">
              <a:spcBef>
                <a:spcPct val="0"/>
              </a:spcBef>
            </a:pPr>
            <a:endParaRPr lang="en-IE" dirty="0" smtClean="0"/>
          </a:p>
        </p:txBody>
      </p:sp>
      <p:sp>
        <p:nvSpPr>
          <p:cNvPr id="22532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2" rIns="91422" bIns="45712" anchor="b"/>
          <a:lstStyle/>
          <a:p>
            <a:pPr algn="r">
              <a:defRPr/>
            </a:pPr>
            <a:fld id="{491F0073-CB1A-4DE4-8E28-0BFCEB04D831}" type="slidenum">
              <a:rPr lang="en-IE" sz="1200">
                <a:latin typeface="+mn-lt"/>
              </a:rPr>
              <a:pPr algn="r">
                <a:defRPr/>
              </a:pPr>
              <a:t>45</a:t>
            </a:fld>
            <a:endParaRPr lang="en-IE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541790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I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E2FAD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E2FAD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3F12ED-74DC-4D09-8DC7-DE69E2477BD8}" type="slidenum">
              <a:rPr lang="en-GB">
                <a:solidFill>
                  <a:srgbClr val="0E2FAD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E2F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8824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E2FAD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E2FAD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9999AA-E8A8-4306-A99D-51DC65B3F88F}" type="slidenum">
              <a:rPr lang="en-GB">
                <a:solidFill>
                  <a:srgbClr val="0E2FAD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E2F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15893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I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E2FAD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E2FAD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EEC205-AB1F-4DC0-86D6-0ADF4F5030C9}" type="slidenum">
              <a:rPr lang="en-GB">
                <a:solidFill>
                  <a:srgbClr val="0E2FAD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E2F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48224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IE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8229600" cy="21859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3938588"/>
            <a:ext cx="8229600" cy="2187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E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E2FAD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E2FAD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1085BF-1574-4DFA-9646-D80A9365F754}" type="slidenum">
              <a:rPr lang="en-GB">
                <a:solidFill>
                  <a:srgbClr val="0E2FAD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E2F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81570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E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E2FAD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E2FAD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1A8BF7-38DC-426F-AD10-A115A6A9CC5B}" type="slidenum">
              <a:rPr lang="en-GB">
                <a:solidFill>
                  <a:srgbClr val="0E2FAD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E2F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81992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2EE78848-2F3F-475A-959C-4B324B9D071A}" type="datetimeFigureOut">
              <a:rPr lang="en-US"/>
              <a:pPr>
                <a:defRPr/>
              </a:pPr>
              <a:t>5/9/2016</a:t>
            </a:fld>
            <a:endParaRPr lang="en-US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F4E656-05A2-47F3-A5CF-AA93690CA2C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02968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pull dir="lu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Background Layout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10975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E2FAD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E2FAD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B55ACA-64DC-4C45-912F-C0B7262C688B}" type="slidenum">
              <a:rPr lang="en-GB">
                <a:solidFill>
                  <a:srgbClr val="0E2FAD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E2F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2281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I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E2FAD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E2FAD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A7B802-77E8-4BC5-8439-A2FFFB52AA36}" type="slidenum">
              <a:rPr lang="en-GB">
                <a:solidFill>
                  <a:srgbClr val="0E2FAD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E2F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62834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E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E2FAD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E2FAD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74888F-A402-409C-AB5B-32B85114519B}" type="slidenum">
              <a:rPr lang="en-GB">
                <a:solidFill>
                  <a:srgbClr val="0E2FAD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E2F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59901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I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E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E2FAD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E2FAD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667E27-C150-419D-AD8B-27CAB6BA82F8}" type="slidenum">
              <a:rPr lang="en-GB">
                <a:solidFill>
                  <a:srgbClr val="0E2FAD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E2F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94558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E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E2FAD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E2FAD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B17425-96CC-47C3-BFBB-B7A7780C78B9}" type="slidenum">
              <a:rPr lang="en-GB">
                <a:solidFill>
                  <a:srgbClr val="0E2FAD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E2F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27353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E2FAD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E2FAD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E222B6-1F55-4DC1-908F-6C54C157F5B9}" type="slidenum">
              <a:rPr lang="en-GB">
                <a:solidFill>
                  <a:srgbClr val="0E2FAD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E2F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76436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E2FAD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E2FAD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E67228-BC09-42E8-A923-CAA92C363A21}" type="slidenum">
              <a:rPr lang="en-GB">
                <a:solidFill>
                  <a:srgbClr val="0E2FAD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E2F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75618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I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IE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E2FAD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E2FAD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C45440-0AAC-46F0-BB20-8D2A74C1CA80}" type="slidenum">
              <a:rPr lang="en-GB">
                <a:solidFill>
                  <a:srgbClr val="0E2FAD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E2FA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11563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0E2FAD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0E2FAD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4F65790-1900-4877-B85B-F7242FDDF6E3}" type="slidenum">
              <a:rPr lang="en-GB">
                <a:solidFill>
                  <a:srgbClr val="0E2FAD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srgbClr val="0E2FAD"/>
              </a:solidFill>
            </a:endParaRPr>
          </a:p>
        </p:txBody>
      </p:sp>
      <p:pic>
        <p:nvPicPr>
          <p:cNvPr id="1031" name="Picture 7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82000" y="5921375"/>
            <a:ext cx="762000" cy="800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94221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s1.org/healthcare/mckinsey" TargetMode="Externa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5" Type="http://schemas.openxmlformats.org/officeDocument/2006/relationships/hyperlink" Target="http://www.mckinsey.com/" TargetMode="External"/><Relationship Id="rId4" Type="http://schemas.openxmlformats.org/officeDocument/2006/relationships/hyperlink" Target="http://www.gs1.org/docs/healthcare/McKinsey_Healthcare_Report_Strength_in_Unity.pdf" TargetMode="Externa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jpeg"/><Relationship Id="rId7" Type="http://schemas.openxmlformats.org/officeDocument/2006/relationships/image" Target="../media/image31.png"/><Relationship Id="rId2" Type="http://schemas.openxmlformats.org/officeDocument/2006/relationships/image" Target="../media/image26.w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wmf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youtube.com/watch_popup?v=Kz9TOnPOfyM&amp;vq=medium" TargetMode="External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8.png"/><Relationship Id="rId7" Type="http://schemas.openxmlformats.org/officeDocument/2006/relationships/image" Target="../media/image34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7" Type="http://schemas.openxmlformats.org/officeDocument/2006/relationships/image" Target="../media/image3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png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3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6.jpeg"/><Relationship Id="rId4" Type="http://schemas.openxmlformats.org/officeDocument/2006/relationships/image" Target="../media/image55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0.png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avi"/><Relationship Id="rId1" Type="http://schemas.microsoft.com/office/2007/relationships/media" Target="../media/media1.avi"/><Relationship Id="rId4" Type="http://schemas.openxmlformats.org/officeDocument/2006/relationships/image" Target="../media/image4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5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emf"/><Relationship Id="rId2" Type="http://schemas.openxmlformats.org/officeDocument/2006/relationships/image" Target="../media/image64.emf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image" Target="../media/image27.jpeg"/><Relationship Id="rId7" Type="http://schemas.openxmlformats.org/officeDocument/2006/relationships/image" Target="../media/image68.png"/><Relationship Id="rId2" Type="http://schemas.openxmlformats.org/officeDocument/2006/relationships/image" Target="../media/image26.w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wmf"/><Relationship Id="rId5" Type="http://schemas.openxmlformats.org/officeDocument/2006/relationships/image" Target="../media/image66.wmf"/><Relationship Id="rId4" Type="http://schemas.openxmlformats.org/officeDocument/2006/relationships/image" Target="../media/image28.wmf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1.pn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en-US" dirty="0" smtClean="0"/>
          </a:p>
        </p:txBody>
      </p:sp>
      <p:pic>
        <p:nvPicPr>
          <p:cNvPr id="2051" name="Picture 3" descr="001"/>
          <p:cNvPicPr>
            <a:picLocks noGrp="1" noChangeAspect="1" noChangeArrowheads="1"/>
          </p:cNvPicPr>
          <p:nvPr>
            <p:ph type="body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44000" cy="68580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0" y="365788"/>
            <a:ext cx="9144000" cy="12003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/>
            <a:r>
              <a:rPr lang="en-IE" sz="3600" b="1" dirty="0">
                <a:solidFill>
                  <a:srgbClr val="FFFF66"/>
                </a:solidFill>
              </a:rPr>
              <a:t>Global Standards enabling interoperability – a case study</a:t>
            </a:r>
            <a:endParaRPr lang="en-GB" sz="3600" b="1" dirty="0">
              <a:solidFill>
                <a:srgbClr val="FFFF66"/>
              </a:solidFill>
            </a:endParaRPr>
          </a:p>
        </p:txBody>
      </p:sp>
      <p:sp>
        <p:nvSpPr>
          <p:cNvPr id="156677" name="Rectangle 5"/>
          <p:cNvSpPr>
            <a:spLocks noChangeArrowheads="1"/>
          </p:cNvSpPr>
          <p:nvPr/>
        </p:nvSpPr>
        <p:spPr bwMode="auto">
          <a:xfrm>
            <a:off x="914400" y="4940300"/>
            <a:ext cx="7772400" cy="1754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7FD7FC"/>
              </a:buClr>
              <a:buSzPct val="80000"/>
              <a:defRPr/>
            </a:pPr>
            <a:r>
              <a:rPr lang="en-IE" sz="2400" b="1" dirty="0" smtClean="0">
                <a:solidFill>
                  <a:srgbClr val="FFFF00"/>
                </a:solidFill>
                <a:latin typeface="Tahoma" pitchFamily="34" charset="0"/>
              </a:rPr>
              <a:t>Feargal </a:t>
            </a:r>
            <a:r>
              <a:rPr lang="en-IE" sz="2400" b="1" dirty="0">
                <a:solidFill>
                  <a:srgbClr val="FFFF00"/>
                </a:solidFill>
                <a:latin typeface="Tahoma" pitchFamily="34" charset="0"/>
              </a:rPr>
              <a:t>Mc Groarty, </a:t>
            </a:r>
            <a:r>
              <a:rPr lang="en-IE" sz="2400" b="1" dirty="0" smtClean="0">
                <a:solidFill>
                  <a:srgbClr val="FFFF00"/>
                </a:solidFill>
                <a:latin typeface="Tahoma" pitchFamily="34" charset="0"/>
              </a:rPr>
              <a:t>National </a:t>
            </a:r>
            <a:r>
              <a:rPr lang="en-IE" sz="2400" b="1" dirty="0">
                <a:solidFill>
                  <a:srgbClr val="FFFF00"/>
                </a:solidFill>
                <a:latin typeface="Tahoma" pitchFamily="34" charset="0"/>
              </a:rPr>
              <a:t>Centre for Hereditary Coagulation Disorders, St James’s Hospital, Ireland</a:t>
            </a:r>
          </a:p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7FD7FC"/>
              </a:buClr>
              <a:buSzPct val="80000"/>
              <a:buFont typeface="Wingdings" pitchFamily="2" charset="2"/>
              <a:buNone/>
              <a:defRPr/>
            </a:pPr>
            <a:endParaRPr lang="en-GB" sz="2400" b="1" dirty="0">
              <a:solidFill>
                <a:srgbClr val="FFFF00"/>
              </a:solidFill>
              <a:latin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9049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6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566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6674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50825" y="384175"/>
            <a:ext cx="8893175" cy="936625"/>
          </a:xfrm>
        </p:spPr>
        <p:txBody>
          <a:bodyPr/>
          <a:lstStyle/>
          <a:p>
            <a:pPr eaLnBrk="1" hangingPunct="1"/>
            <a:r>
              <a:rPr lang="en-IE" sz="4000" b="1" smtClean="0">
                <a:solidFill>
                  <a:srgbClr val="091D67"/>
                </a:solidFill>
              </a:rPr>
              <a:t>Quality and Validation…excellent!</a:t>
            </a:r>
            <a:endParaRPr lang="en-GB" sz="4000" b="1" smtClean="0">
              <a:solidFill>
                <a:srgbClr val="091D67"/>
              </a:solidFill>
            </a:endParaRPr>
          </a:p>
        </p:txBody>
      </p:sp>
      <p:pic>
        <p:nvPicPr>
          <p:cNvPr id="12291" name="Picture 4" descr="Pharma manufa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50" y="1630363"/>
            <a:ext cx="8064500" cy="417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59524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79388" y="384175"/>
            <a:ext cx="8964612" cy="936625"/>
          </a:xfrm>
        </p:spPr>
        <p:txBody>
          <a:bodyPr/>
          <a:lstStyle/>
          <a:p>
            <a:pPr eaLnBrk="1" hangingPunct="1"/>
            <a:r>
              <a:rPr lang="en-IE" sz="4000" b="1" smtClean="0">
                <a:solidFill>
                  <a:srgbClr val="091D67"/>
                </a:solidFill>
              </a:rPr>
              <a:t>Pharma Supply Chain… excellent!</a:t>
            </a:r>
            <a:endParaRPr lang="en-GB" sz="4000" b="1" smtClean="0">
              <a:solidFill>
                <a:srgbClr val="091D67"/>
              </a:solidFill>
            </a:endParaRPr>
          </a:p>
        </p:txBody>
      </p:sp>
      <p:pic>
        <p:nvPicPr>
          <p:cNvPr id="13315" name="Picture 3"/>
          <p:cNvPicPr>
            <a:picLocks noGrp="1" noChangeAspect="1" noChangeArrowheads="1"/>
          </p:cNvPicPr>
          <p:nvPr>
            <p:ph sz="half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41438" y="1601788"/>
            <a:ext cx="6518275" cy="4572000"/>
          </a:xfrm>
        </p:spPr>
      </p:pic>
    </p:spTree>
    <p:extLst>
      <p:ext uri="{BB962C8B-B14F-4D97-AF65-F5344CB8AC3E}">
        <p14:creationId xmlns:p14="http://schemas.microsoft.com/office/powerpoint/2010/main" val="12889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689225"/>
            <a:ext cx="8229600" cy="1143000"/>
          </a:xfrm>
        </p:spPr>
        <p:txBody>
          <a:bodyPr/>
          <a:lstStyle/>
          <a:p>
            <a:pPr eaLnBrk="1" hangingPunct="1"/>
            <a:r>
              <a:rPr lang="en-IE" sz="4000" b="1" smtClean="0">
                <a:solidFill>
                  <a:srgbClr val="091D67"/>
                </a:solidFill>
              </a:rPr>
              <a:t>And then after 17 years development what do they do…?</a:t>
            </a:r>
            <a:endParaRPr lang="en-GB" sz="4000" b="1" smtClean="0">
              <a:solidFill>
                <a:srgbClr val="091D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8943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extBox 7"/>
          <p:cNvSpPr txBox="1">
            <a:spLocks noChangeArrowheads="1"/>
          </p:cNvSpPr>
          <p:nvPr/>
        </p:nvSpPr>
        <p:spPr bwMode="auto">
          <a:xfrm>
            <a:off x="862013" y="5575300"/>
            <a:ext cx="7204075" cy="10795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>
              <a:cs typeface="Arial" charset="0"/>
            </a:endParaRPr>
          </a:p>
        </p:txBody>
      </p:sp>
      <p:pic>
        <p:nvPicPr>
          <p:cNvPr id="20484" name="Picture 4" descr="Quade twin Hepari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300" y="2017713"/>
            <a:ext cx="6149975" cy="327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50825" y="404813"/>
            <a:ext cx="8713788" cy="936625"/>
          </a:xfrm>
        </p:spPr>
        <p:txBody>
          <a:bodyPr/>
          <a:lstStyle/>
          <a:p>
            <a:pPr eaLnBrk="1" hangingPunct="1"/>
            <a:r>
              <a:rPr lang="en-IE" sz="2800" b="1" dirty="0" smtClean="0">
                <a:solidFill>
                  <a:srgbClr val="091D67"/>
                </a:solidFill>
              </a:rPr>
              <a:t>When the drug gets to the patient…. </a:t>
            </a:r>
            <a:br>
              <a:rPr lang="en-IE" sz="2800" b="1" dirty="0" smtClean="0">
                <a:solidFill>
                  <a:srgbClr val="091D67"/>
                </a:solidFill>
              </a:rPr>
            </a:br>
            <a:r>
              <a:rPr lang="en-IE" sz="2800" b="1" dirty="0" smtClean="0">
                <a:solidFill>
                  <a:srgbClr val="091D67"/>
                </a:solidFill>
              </a:rPr>
              <a:t>Not counterfeit but just as dangerous!</a:t>
            </a:r>
            <a:endParaRPr lang="en-GB" sz="2800" b="1" dirty="0" smtClean="0">
              <a:solidFill>
                <a:srgbClr val="091D67"/>
              </a:solidFill>
            </a:endParaRPr>
          </a:p>
        </p:txBody>
      </p:sp>
      <p:sp>
        <p:nvSpPr>
          <p:cNvPr id="7" name="Text Box 5"/>
          <p:cNvSpPr txBox="1">
            <a:spLocks noChangeArrowheads="1"/>
          </p:cNvSpPr>
          <p:nvPr/>
        </p:nvSpPr>
        <p:spPr bwMode="auto">
          <a:xfrm>
            <a:off x="1257300" y="5654675"/>
            <a:ext cx="615632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IE">
                <a:cs typeface="Arial" charset="0"/>
              </a:rPr>
              <a:t>Would barcode scanning have prevented this?  Absolutely!</a:t>
            </a:r>
            <a:endParaRPr lang="en-GB">
              <a:cs typeface="Arial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657" y="828978"/>
            <a:ext cx="6192688" cy="5200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66731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IE" b="1" smtClean="0">
                <a:solidFill>
                  <a:srgbClr val="091D67"/>
                </a:solidFill>
              </a:rPr>
              <a:t>How did this happen?</a:t>
            </a:r>
            <a:endParaRPr lang="en-GB" b="1" smtClean="0">
              <a:solidFill>
                <a:srgbClr val="091D67"/>
              </a:solidFill>
            </a:endParaRPr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buFontTx/>
              <a:buNone/>
            </a:pPr>
            <a:r>
              <a:rPr lang="en-IE" b="1" i="1" dirty="0" smtClean="0"/>
              <a:t>“The main causes (of medication error) are human factors including….”*</a:t>
            </a:r>
          </a:p>
          <a:p>
            <a:pPr eaLnBrk="1" hangingPunct="1"/>
            <a:r>
              <a:rPr lang="en-IE" dirty="0" smtClean="0"/>
              <a:t>Fatigue</a:t>
            </a:r>
          </a:p>
          <a:p>
            <a:pPr eaLnBrk="1" hangingPunct="1"/>
            <a:r>
              <a:rPr lang="en-IE" dirty="0" smtClean="0"/>
              <a:t>Inattention</a:t>
            </a:r>
          </a:p>
          <a:p>
            <a:pPr eaLnBrk="1" hangingPunct="1"/>
            <a:r>
              <a:rPr lang="en-IE" dirty="0" smtClean="0"/>
              <a:t>Memory Lapse</a:t>
            </a:r>
          </a:p>
          <a:p>
            <a:pPr eaLnBrk="1" hangingPunct="1"/>
            <a:r>
              <a:rPr lang="en-IE" dirty="0" smtClean="0"/>
              <a:t>Lack of Knowledge</a:t>
            </a:r>
          </a:p>
          <a:p>
            <a:pPr eaLnBrk="1" hangingPunct="1"/>
            <a:r>
              <a:rPr lang="en-IE" dirty="0" smtClean="0"/>
              <a:t>Failure to communicate</a:t>
            </a:r>
          </a:p>
          <a:p>
            <a:pPr lvl="0" algn="ctr" eaLnBrk="1" hangingPunct="1">
              <a:buNone/>
            </a:pPr>
            <a:r>
              <a:rPr lang="en-IE" sz="2000" dirty="0" smtClean="0">
                <a:solidFill>
                  <a:srgbClr val="0E2FAD"/>
                </a:solidFill>
              </a:rPr>
              <a:t>*American </a:t>
            </a:r>
            <a:r>
              <a:rPr lang="en-IE" sz="2000" dirty="0">
                <a:solidFill>
                  <a:srgbClr val="0E2FAD"/>
                </a:solidFill>
              </a:rPr>
              <a:t>College of Obstetrics and Gynaecologists – August 2012 </a:t>
            </a:r>
          </a:p>
          <a:p>
            <a:pPr marL="0" indent="0" eaLnBrk="1" hangingPunct="1">
              <a:buNone/>
            </a:pP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3131600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IE" sz="4000" b="1" smtClean="0">
                <a:solidFill>
                  <a:srgbClr val="091D67"/>
                </a:solidFill>
              </a:rPr>
              <a:t>Do these suffer from any of the causes listed?</a:t>
            </a:r>
            <a:endParaRPr lang="en-GB" sz="4000" b="1" smtClean="0">
              <a:solidFill>
                <a:srgbClr val="091D67"/>
              </a:solidFill>
            </a:endParaRPr>
          </a:p>
        </p:txBody>
      </p:sp>
      <p:pic>
        <p:nvPicPr>
          <p:cNvPr id="17411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685925"/>
            <a:ext cx="2819400" cy="2027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412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6100" y="1685925"/>
            <a:ext cx="3178175" cy="1808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413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9238" y="4038600"/>
            <a:ext cx="2743200" cy="2073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03540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4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4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42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74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74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74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Title 3"/>
          <p:cNvSpPr>
            <a:spLocks noGrp="1"/>
          </p:cNvSpPr>
          <p:nvPr>
            <p:ph type="title"/>
          </p:nvPr>
        </p:nvSpPr>
        <p:spPr>
          <a:xfrm>
            <a:off x="971600" y="432922"/>
            <a:ext cx="6877050" cy="936625"/>
          </a:xfrm>
        </p:spPr>
        <p:txBody>
          <a:bodyPr/>
          <a:lstStyle/>
          <a:p>
            <a:r>
              <a:rPr lang="en-GB" sz="4000" b="1" dirty="0" smtClean="0">
                <a:solidFill>
                  <a:srgbClr val="002060"/>
                </a:solidFill>
              </a:rPr>
              <a:t>Benefits for Patient Safety</a:t>
            </a:r>
            <a:endParaRPr lang="fr-BE" sz="4000" b="1" dirty="0" smtClean="0">
              <a:solidFill>
                <a:srgbClr val="002060"/>
              </a:solidFill>
            </a:endParaRPr>
          </a:p>
        </p:txBody>
      </p:sp>
      <p:sp>
        <p:nvSpPr>
          <p:cNvPr id="59395" name="Content Placeholder 4"/>
          <p:cNvSpPr>
            <a:spLocks noGrp="1"/>
          </p:cNvSpPr>
          <p:nvPr>
            <p:ph sz="half" idx="1"/>
          </p:nvPr>
        </p:nvSpPr>
        <p:spPr>
          <a:xfrm>
            <a:off x="296863" y="1433513"/>
            <a:ext cx="8466137" cy="4967287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en-GB" sz="2800" dirty="0">
                <a:solidFill>
                  <a:schemeClr val="tx2"/>
                </a:solidFill>
              </a:rPr>
              <a:t>Reduction of </a:t>
            </a:r>
            <a:r>
              <a:rPr lang="en-GB" sz="2800" b="1" dirty="0">
                <a:solidFill>
                  <a:schemeClr val="tx2"/>
                </a:solidFill>
              </a:rPr>
              <a:t>medical errors</a:t>
            </a:r>
          </a:p>
          <a:p>
            <a:pPr>
              <a:spcBef>
                <a:spcPct val="0"/>
              </a:spcBef>
            </a:pPr>
            <a:r>
              <a:rPr lang="en-GB" sz="2800" dirty="0" smtClean="0">
                <a:solidFill>
                  <a:schemeClr val="tx2"/>
                </a:solidFill>
              </a:rPr>
              <a:t>Improved </a:t>
            </a:r>
            <a:r>
              <a:rPr lang="en-GB" sz="2800" b="1" dirty="0">
                <a:solidFill>
                  <a:schemeClr val="tx2"/>
                </a:solidFill>
              </a:rPr>
              <a:t>recall</a:t>
            </a:r>
            <a:r>
              <a:rPr lang="en-GB" sz="2800" dirty="0">
                <a:solidFill>
                  <a:schemeClr val="tx2"/>
                </a:solidFill>
              </a:rPr>
              <a:t> procedure and </a:t>
            </a:r>
            <a:r>
              <a:rPr lang="en-GB" sz="2800" b="1" dirty="0">
                <a:solidFill>
                  <a:schemeClr val="tx2"/>
                </a:solidFill>
              </a:rPr>
              <a:t>adverse event </a:t>
            </a:r>
            <a:r>
              <a:rPr lang="en-GB" sz="2800" b="1" dirty="0" smtClean="0">
                <a:solidFill>
                  <a:schemeClr val="tx2"/>
                </a:solidFill>
              </a:rPr>
              <a:t>reporting</a:t>
            </a:r>
            <a:endParaRPr lang="en-GB" sz="2800" b="1" dirty="0">
              <a:solidFill>
                <a:schemeClr val="tx2"/>
              </a:solidFill>
            </a:endParaRPr>
          </a:p>
          <a:p>
            <a:pPr>
              <a:spcBef>
                <a:spcPct val="0"/>
              </a:spcBef>
            </a:pPr>
            <a:r>
              <a:rPr lang="en-GB" sz="2800" b="1" dirty="0">
                <a:solidFill>
                  <a:schemeClr val="tx2"/>
                </a:solidFill>
              </a:rPr>
              <a:t>Documentation</a:t>
            </a:r>
            <a:r>
              <a:rPr lang="en-GB" sz="2800" dirty="0">
                <a:solidFill>
                  <a:schemeClr val="tx2"/>
                </a:solidFill>
              </a:rPr>
              <a:t> of product/patient relationship – in </a:t>
            </a:r>
            <a:r>
              <a:rPr lang="en-GB" sz="2800" b="1" dirty="0">
                <a:solidFill>
                  <a:schemeClr val="tx2"/>
                </a:solidFill>
              </a:rPr>
              <a:t>Electronic Health Records </a:t>
            </a:r>
            <a:r>
              <a:rPr lang="en-GB" sz="2800" dirty="0">
                <a:solidFill>
                  <a:schemeClr val="tx2"/>
                </a:solidFill>
              </a:rPr>
              <a:t>(EHR) and registries</a:t>
            </a:r>
          </a:p>
          <a:p>
            <a:pPr>
              <a:spcBef>
                <a:spcPct val="0"/>
              </a:spcBef>
            </a:pPr>
            <a:r>
              <a:rPr lang="en-GB" sz="2800" b="1" dirty="0">
                <a:solidFill>
                  <a:schemeClr val="tx2"/>
                </a:solidFill>
              </a:rPr>
              <a:t>Visibility </a:t>
            </a:r>
            <a:r>
              <a:rPr lang="en-GB" sz="2800" dirty="0">
                <a:solidFill>
                  <a:schemeClr val="tx2"/>
                </a:solidFill>
              </a:rPr>
              <a:t>of</a:t>
            </a:r>
            <a:r>
              <a:rPr lang="en-GB" sz="2800" b="1" dirty="0">
                <a:solidFill>
                  <a:schemeClr val="tx2"/>
                </a:solidFill>
              </a:rPr>
              <a:t> inventory</a:t>
            </a:r>
            <a:r>
              <a:rPr lang="en-GB" sz="2800" dirty="0">
                <a:solidFill>
                  <a:schemeClr val="tx2"/>
                </a:solidFill>
              </a:rPr>
              <a:t> – availability of devices</a:t>
            </a:r>
          </a:p>
          <a:p>
            <a:pPr>
              <a:spcBef>
                <a:spcPct val="0"/>
              </a:spcBef>
            </a:pPr>
            <a:r>
              <a:rPr lang="en-GB" sz="2800" dirty="0" smtClean="0">
                <a:solidFill>
                  <a:schemeClr val="tx2"/>
                </a:solidFill>
              </a:rPr>
              <a:t>Supply </a:t>
            </a:r>
            <a:r>
              <a:rPr lang="en-GB" sz="2800" dirty="0">
                <a:solidFill>
                  <a:schemeClr val="tx2"/>
                </a:solidFill>
              </a:rPr>
              <a:t>chain </a:t>
            </a:r>
            <a:r>
              <a:rPr lang="en-GB" sz="2800" b="1" dirty="0">
                <a:solidFill>
                  <a:schemeClr val="tx2"/>
                </a:solidFill>
              </a:rPr>
              <a:t>security/anti-counterfeiting</a:t>
            </a:r>
          </a:p>
          <a:p>
            <a:pPr>
              <a:spcBef>
                <a:spcPct val="0"/>
              </a:spcBef>
            </a:pPr>
            <a:endParaRPr lang="en-GB" sz="2800" dirty="0" smtClean="0"/>
          </a:p>
          <a:p>
            <a:pPr>
              <a:spcBef>
                <a:spcPct val="0"/>
              </a:spcBef>
            </a:pPr>
            <a:endParaRPr lang="en-GB" sz="1800" dirty="0" smtClean="0"/>
          </a:p>
        </p:txBody>
      </p:sp>
      <p:pic>
        <p:nvPicPr>
          <p:cNvPr id="59396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7477" y="5085184"/>
            <a:ext cx="2090936" cy="1559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654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892" name="Rectangle 4"/>
          <p:cNvSpPr>
            <a:spLocks noChangeArrowheads="1"/>
          </p:cNvSpPr>
          <p:nvPr/>
        </p:nvSpPr>
        <p:spPr bwMode="auto">
          <a:xfrm>
            <a:off x="636588" y="454025"/>
            <a:ext cx="8229600" cy="2128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en-US" sz="4400" b="1">
              <a:solidFill>
                <a:schemeClr val="tx2"/>
              </a:solidFill>
            </a:endParaRPr>
          </a:p>
        </p:txBody>
      </p:sp>
      <p:sp>
        <p:nvSpPr>
          <p:cNvPr id="165893" name="Text Box 5"/>
          <p:cNvSpPr txBox="1">
            <a:spLocks noChangeArrowheads="1"/>
          </p:cNvSpPr>
          <p:nvPr/>
        </p:nvSpPr>
        <p:spPr bwMode="auto">
          <a:xfrm>
            <a:off x="827088" y="454025"/>
            <a:ext cx="7402512" cy="1311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en-IE" sz="4000" b="1" dirty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First Barcode scanned in Retail in 1974</a:t>
            </a:r>
            <a:endParaRPr lang="en-GB" sz="4000" b="1" dirty="0">
              <a:solidFill>
                <a:srgbClr val="002060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8196" name="Rectangle 6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en-US" smtClean="0"/>
          </a:p>
        </p:txBody>
      </p:sp>
      <p:pic>
        <p:nvPicPr>
          <p:cNvPr id="8197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8150" y="1765300"/>
            <a:ext cx="5657850" cy="392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32443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8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658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658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589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3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IE" sz="40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First Barcode scanned in Healthcare…..1991…but</a:t>
            </a:r>
            <a:endParaRPr lang="en-GB" sz="4000" b="1" dirty="0" smtClean="0">
              <a:solidFill>
                <a:srgbClr val="002060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pic>
        <p:nvPicPr>
          <p:cNvPr id="185348" name="Picture 3" descr="Pedea Box Trans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375" y="2417763"/>
            <a:ext cx="2308225" cy="3122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5349" name="Picture 4" descr="Pedea BC Transp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605488">
            <a:off x="3244850" y="2070100"/>
            <a:ext cx="5129213" cy="4291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04577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3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853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3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6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algn="ctr" eaLnBrk="1" hangingPunct="1">
              <a:buFontTx/>
              <a:buNone/>
              <a:defRPr/>
            </a:pPr>
            <a:r>
              <a:rPr lang="en-IE" sz="44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How standard are standards in healthcare?</a:t>
            </a:r>
            <a:endParaRPr lang="en-GB" sz="3600" dirty="0" smtClean="0">
              <a:solidFill>
                <a:srgbClr val="002060"/>
              </a:solidFill>
            </a:endParaRPr>
          </a:p>
          <a:p>
            <a:pPr eaLnBrk="1" hangingPunct="1">
              <a:buFontTx/>
              <a:buNone/>
              <a:defRPr/>
            </a:pPr>
            <a:r>
              <a:rPr lang="en-GB" sz="3600" dirty="0" smtClean="0"/>
              <a:t>‘The nice thing about standards is that there are so many to choose from’</a:t>
            </a:r>
          </a:p>
          <a:p>
            <a:pPr algn="ctr" eaLnBrk="1" hangingPunct="1">
              <a:buFontTx/>
              <a:buNone/>
              <a:defRPr/>
            </a:pPr>
            <a:r>
              <a:rPr lang="en-GB" sz="3600" dirty="0" smtClean="0"/>
              <a:t> </a:t>
            </a:r>
            <a:r>
              <a:rPr lang="en-GB" sz="2000" i="1" dirty="0" smtClean="0"/>
              <a:t>(Andrew Tannenbaum, the Vrije Universiteit, Amsterdam)</a:t>
            </a:r>
          </a:p>
          <a:p>
            <a:pPr algn="ctr" eaLnBrk="1" hangingPunct="1">
              <a:buFontTx/>
              <a:buNone/>
              <a:defRPr/>
            </a:pPr>
            <a:r>
              <a:rPr lang="en-GB" sz="3600" dirty="0" smtClean="0"/>
              <a:t> </a:t>
            </a:r>
            <a:r>
              <a:rPr lang="en-GB" sz="2800" dirty="0" smtClean="0"/>
              <a:t>to which has been added …………</a:t>
            </a:r>
          </a:p>
          <a:p>
            <a:pPr eaLnBrk="1" hangingPunct="1">
              <a:buFontTx/>
              <a:buNone/>
              <a:defRPr/>
            </a:pPr>
            <a:r>
              <a:rPr lang="en-GB" sz="3600" dirty="0" smtClean="0"/>
              <a:t>‘and if I can’t find one I like, I’ll make up my own!’ </a:t>
            </a:r>
          </a:p>
          <a:p>
            <a:pPr algn="ctr" eaLnBrk="1" hangingPunct="1">
              <a:buFontTx/>
              <a:buNone/>
              <a:defRPr/>
            </a:pPr>
            <a:r>
              <a:rPr lang="en-GB" sz="2000" i="1" dirty="0" smtClean="0"/>
              <a:t>(Paul Amos, Information Standards Board for Health and Social Care in England, UK). </a:t>
            </a:r>
          </a:p>
        </p:txBody>
      </p:sp>
    </p:spTree>
    <p:extLst>
      <p:ext uri="{BB962C8B-B14F-4D97-AF65-F5344CB8AC3E}">
        <p14:creationId xmlns:p14="http://schemas.microsoft.com/office/powerpoint/2010/main" val="3877546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6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1000"/>
                                        <p:tgtEl>
                                          <p:spTgt spid="1996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6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1000"/>
                                        <p:tgtEl>
                                          <p:spTgt spid="1996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4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6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1996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6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21" presetID="9" presetClass="emph" presetSubtype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2" dur="indefinite"/>
                                        <p:tgtEl>
                                          <p:spTgt spid="1996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3" dur="indefinite"/>
                                        <p:tgtEl>
                                          <p:spTgt spid="1996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6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3000"/>
                                        <p:tgtEl>
                                          <p:spTgt spid="1996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6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96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IE" b="1" dirty="0" smtClean="0">
                <a:solidFill>
                  <a:srgbClr val="091D67"/>
                </a:solidFill>
              </a:rPr>
              <a:t>Agenda</a:t>
            </a:r>
            <a:endParaRPr lang="en-GB" b="1" dirty="0" smtClean="0">
              <a:solidFill>
                <a:srgbClr val="091D67"/>
              </a:solidFill>
            </a:endParaRPr>
          </a:p>
        </p:txBody>
      </p:sp>
      <p:sp>
        <p:nvSpPr>
          <p:cNvPr id="102404" name="Rectangle 4"/>
          <p:cNvSpPr>
            <a:spLocks noChangeArrowheads="1"/>
          </p:cNvSpPr>
          <p:nvPr/>
        </p:nvSpPr>
        <p:spPr bwMode="auto">
          <a:xfrm>
            <a:off x="755576" y="1412776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</a:pPr>
            <a:endParaRPr lang="en-GB" sz="2400" dirty="0"/>
          </a:p>
          <a:p>
            <a:pPr marL="342900" indent="-342900">
              <a:lnSpc>
                <a:spcPct val="90000"/>
              </a:lnSpc>
              <a:spcBef>
                <a:spcPct val="20000"/>
              </a:spcBef>
              <a:buFontTx/>
              <a:buChar char="•"/>
            </a:pPr>
            <a:r>
              <a:rPr lang="en-IE" sz="2400" dirty="0" smtClean="0"/>
              <a:t>Why do we need standards in the medication supply chain?</a:t>
            </a:r>
          </a:p>
          <a:p>
            <a:pPr marL="342900" indent="-342900">
              <a:lnSpc>
                <a:spcPct val="90000"/>
              </a:lnSpc>
              <a:spcBef>
                <a:spcPct val="20000"/>
              </a:spcBef>
              <a:buFontTx/>
              <a:buChar char="•"/>
            </a:pPr>
            <a:r>
              <a:rPr lang="en-IE" sz="2400" dirty="0" smtClean="0"/>
              <a:t>Who is GS1 and how do GS1 Standards help?</a:t>
            </a:r>
          </a:p>
          <a:p>
            <a:pPr marL="342900" indent="-342900">
              <a:lnSpc>
                <a:spcPct val="90000"/>
              </a:lnSpc>
              <a:spcBef>
                <a:spcPct val="20000"/>
              </a:spcBef>
              <a:buFontTx/>
              <a:buChar char="•"/>
            </a:pPr>
            <a:r>
              <a:rPr lang="en-IE" sz="2400" dirty="0" smtClean="0"/>
              <a:t>The Irish haemophilia story</a:t>
            </a:r>
            <a:endParaRPr lang="en-IE" sz="2400" dirty="0"/>
          </a:p>
          <a:p>
            <a:pPr marL="342900" indent="-342900">
              <a:lnSpc>
                <a:spcPct val="90000"/>
              </a:lnSpc>
              <a:spcBef>
                <a:spcPct val="20000"/>
              </a:spcBef>
              <a:buFontTx/>
              <a:buChar char="•"/>
            </a:pPr>
            <a:r>
              <a:rPr lang="en-IE" sz="2400" dirty="0"/>
              <a:t>Exploiting  smartphone technology - allowing patients to scan their medication within the home</a:t>
            </a:r>
          </a:p>
          <a:p>
            <a:pPr marL="342900" indent="-342900">
              <a:lnSpc>
                <a:spcPct val="90000"/>
              </a:lnSpc>
              <a:spcBef>
                <a:spcPct val="20000"/>
              </a:spcBef>
              <a:buFontTx/>
              <a:buChar char="•"/>
            </a:pPr>
            <a:r>
              <a:rPr lang="en-GB" sz="2400" dirty="0"/>
              <a:t>Outcomes/ROI</a:t>
            </a:r>
          </a:p>
          <a:p>
            <a:pPr marL="342900" indent="-342900">
              <a:lnSpc>
                <a:spcPct val="90000"/>
              </a:lnSpc>
              <a:spcBef>
                <a:spcPct val="20000"/>
              </a:spcBef>
              <a:buFontTx/>
              <a:buChar char="•"/>
            </a:pPr>
            <a:r>
              <a:rPr lang="en-IE" sz="2400" dirty="0"/>
              <a:t>Conclusions</a:t>
            </a:r>
            <a:endParaRPr lang="en-GB" sz="2400" dirty="0"/>
          </a:p>
          <a:p>
            <a:pPr marL="342900" indent="-342900">
              <a:lnSpc>
                <a:spcPct val="90000"/>
              </a:lnSpc>
              <a:spcBef>
                <a:spcPct val="20000"/>
              </a:spcBef>
            </a:pPr>
            <a:endParaRPr lang="en-GB" sz="2400" dirty="0"/>
          </a:p>
          <a:p>
            <a:pPr marL="342900" indent="-342900">
              <a:lnSpc>
                <a:spcPct val="90000"/>
              </a:lnSpc>
              <a:spcBef>
                <a:spcPct val="20000"/>
              </a:spcBef>
            </a:pPr>
            <a:endParaRPr lang="en-GB" sz="2400" dirty="0"/>
          </a:p>
          <a:p>
            <a:pPr marL="342900" indent="-342900">
              <a:lnSpc>
                <a:spcPct val="90000"/>
              </a:lnSpc>
              <a:spcBef>
                <a:spcPct val="20000"/>
              </a:spcBef>
            </a:pP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1189066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0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1000"/>
                                        <p:tgtEl>
                                          <p:spTgt spid="10240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0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1000"/>
                                        <p:tgtEl>
                                          <p:spTgt spid="10240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0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1000"/>
                                        <p:tgtEl>
                                          <p:spTgt spid="10240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17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0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1000"/>
                                        <p:tgtEl>
                                          <p:spTgt spid="10240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21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0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1000"/>
                                        <p:tgtEl>
                                          <p:spTgt spid="10240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5000"/>
                            </p:stCondLst>
                            <p:childTnLst>
                              <p:par>
                                <p:cTn id="25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0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1000"/>
                                        <p:tgtEl>
                                          <p:spTgt spid="10240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404" grpId="0" build="p" autoUpdateAnimBg="0" advAuto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el 1"/>
          <p:cNvSpPr>
            <a:spLocks noGrp="1"/>
          </p:cNvSpPr>
          <p:nvPr>
            <p:ph type="title"/>
          </p:nvPr>
        </p:nvSpPr>
        <p:spPr>
          <a:xfrm>
            <a:off x="683568" y="384175"/>
            <a:ext cx="8271520" cy="936625"/>
          </a:xfrm>
        </p:spPr>
        <p:txBody>
          <a:bodyPr/>
          <a:lstStyle/>
          <a:p>
            <a:r>
              <a:rPr lang="nl-BE" dirty="0" smtClean="0">
                <a:solidFill>
                  <a:srgbClr val="002060"/>
                </a:solidFill>
              </a:rPr>
              <a:t>..in Healthcare  it is dangerous and ineffecient!</a:t>
            </a:r>
            <a:endParaRPr lang="nl-NL" dirty="0" smtClean="0">
              <a:solidFill>
                <a:srgbClr val="002060"/>
              </a:solidFill>
            </a:endParaRPr>
          </a:p>
        </p:txBody>
      </p:sp>
      <p:sp>
        <p:nvSpPr>
          <p:cNvPr id="13315" name="Tijdelijke aanduiding voor dianumm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rgbClr val="002C6C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rgbClr val="002C6C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rgbClr val="002C6C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rgbClr val="002C6C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rgbClr val="002C6C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2C6C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2C6C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2C6C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2C6C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C9C4D14B-0D11-4CAE-847A-21F9390007C0}" type="slidenum">
              <a:rPr lang="en-US" smtClean="0">
                <a:solidFill>
                  <a:schemeClr val="tx1"/>
                </a:solidFill>
                <a:ea typeface="MS PGothic" pitchFamily="34" charset="-128"/>
              </a:rPr>
              <a:pPr eaLnBrk="1" hangingPunct="1"/>
              <a:t>20</a:t>
            </a:fld>
            <a:endParaRPr lang="en-US" smtClean="0">
              <a:solidFill>
                <a:schemeClr val="tx1"/>
              </a:solidFill>
              <a:ea typeface="MS PGothic" pitchFamily="34" charset="-128"/>
            </a:endParaRPr>
          </a:p>
        </p:txBody>
      </p:sp>
      <p:pic>
        <p:nvPicPr>
          <p:cNvPr id="5" name="Picture 3" descr="Pedea Box Transp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75" y="1298575"/>
            <a:ext cx="1698625" cy="22971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7" name="Picture 4" descr="Pedea BC Transp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7288" y="3595688"/>
            <a:ext cx="3592512" cy="300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8" name="Tekstvak 1"/>
          <p:cNvSpPr txBox="1">
            <a:spLocks noChangeArrowheads="1"/>
          </p:cNvSpPr>
          <p:nvPr/>
        </p:nvSpPr>
        <p:spPr bwMode="auto">
          <a:xfrm>
            <a:off x="5127625" y="4724400"/>
            <a:ext cx="3827463" cy="1846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eaLnBrk="0" hangingPunct="0">
              <a:defRPr>
                <a:solidFill>
                  <a:srgbClr val="002C6C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rgbClr val="002C6C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rgbClr val="002C6C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rgbClr val="002C6C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rgbClr val="002C6C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2C6C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2C6C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2C6C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2C6C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buFont typeface="Arial" pitchFamily="34" charset="0"/>
              <a:buChar char="•"/>
            </a:pPr>
            <a:r>
              <a:rPr lang="nl-BE" sz="1600" dirty="0">
                <a:ea typeface="MS PGothic" pitchFamily="34" charset="-128"/>
              </a:rPr>
              <a:t>Multiple bar codes on one package – which one to scan?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nl-BE" sz="1600" dirty="0">
                <a:ea typeface="MS PGothic" pitchFamily="34" charset="-128"/>
              </a:rPr>
              <a:t>Different types of bar codes – inconsistency; incompatibility</a:t>
            </a:r>
          </a:p>
          <a:p>
            <a:pPr eaLnBrk="1" hangingPunct="1">
              <a:buFont typeface="Arial" pitchFamily="34" charset="0"/>
              <a:buChar char="•"/>
            </a:pPr>
            <a:r>
              <a:rPr lang="nl-BE" sz="1600" dirty="0">
                <a:ea typeface="MS PGothic" pitchFamily="34" charset="-128"/>
              </a:rPr>
              <a:t>No bar code – need to bar code; re-package; re-label</a:t>
            </a:r>
          </a:p>
          <a:p>
            <a:pPr eaLnBrk="1" hangingPunct="1">
              <a:buFont typeface="Arial" pitchFamily="34" charset="0"/>
              <a:buChar char="•"/>
            </a:pPr>
            <a:endParaRPr lang="nl-NL" dirty="0">
              <a:ea typeface="MS PGothic" pitchFamily="34" charset="-128"/>
            </a:endParaRPr>
          </a:p>
        </p:txBody>
      </p:sp>
      <p:pic>
        <p:nvPicPr>
          <p:cNvPr id="13319" name="Picture 8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73675" y="1692275"/>
            <a:ext cx="3302000" cy="267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1063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19250" y="381000"/>
            <a:ext cx="5905500" cy="301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3618052" y="3524250"/>
            <a:ext cx="1907895" cy="76944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4400" b="1" dirty="0" smtClean="0">
                <a:solidFill>
                  <a:srgbClr val="F26334"/>
                </a:solidFill>
                <a:latin typeface="+mj-lt"/>
              </a:rPr>
              <a:t>WHO?</a:t>
            </a:r>
            <a:endParaRPr lang="en-US" sz="4400" b="1" dirty="0">
              <a:solidFill>
                <a:srgbClr val="F26334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3786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13"/>
          <p:cNvSpPr>
            <a:spLocks noChangeArrowheads="1"/>
          </p:cNvSpPr>
          <p:nvPr/>
        </p:nvSpPr>
        <p:spPr bwMode="auto">
          <a:xfrm>
            <a:off x="0" y="5314950"/>
            <a:ext cx="9144000" cy="13525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spcBef>
                <a:spcPct val="20000"/>
              </a:spcBef>
            </a:pPr>
            <a:endParaRPr lang="en-US"/>
          </a:p>
        </p:txBody>
      </p:sp>
      <p:sp>
        <p:nvSpPr>
          <p:cNvPr id="26627" name="Title 6"/>
          <p:cNvSpPr>
            <a:spLocks noGrp="1"/>
          </p:cNvSpPr>
          <p:nvPr>
            <p:ph type="title"/>
          </p:nvPr>
        </p:nvSpPr>
        <p:spPr>
          <a:xfrm>
            <a:off x="971600" y="384175"/>
            <a:ext cx="7776864" cy="936625"/>
          </a:xfrm>
        </p:spPr>
        <p:txBody>
          <a:bodyPr/>
          <a:lstStyle/>
          <a:p>
            <a:pPr eaLnBrk="1" hangingPunct="1"/>
            <a:r>
              <a:rPr lang="fr-BE" sz="3200" b="1" dirty="0" smtClean="0">
                <a:solidFill>
                  <a:srgbClr val="002060"/>
                </a:solidFill>
              </a:rPr>
              <a:t>GS1 </a:t>
            </a:r>
            <a:r>
              <a:rPr lang="fr-BE" sz="3200" b="1" dirty="0">
                <a:solidFill>
                  <a:srgbClr val="002060"/>
                </a:solidFill>
              </a:rPr>
              <a:t>Healthcare - </a:t>
            </a:r>
            <a:r>
              <a:rPr lang="fr-BE" sz="3200" b="1" dirty="0" err="1" smtClean="0">
                <a:solidFill>
                  <a:srgbClr val="002060"/>
                </a:solidFill>
              </a:rPr>
              <a:t>Voluntary</a:t>
            </a:r>
            <a:r>
              <a:rPr lang="fr-BE" sz="3200" b="1" dirty="0" smtClean="0">
                <a:solidFill>
                  <a:srgbClr val="002060"/>
                </a:solidFill>
              </a:rPr>
              <a:t>, Global </a:t>
            </a:r>
            <a:br>
              <a:rPr lang="fr-BE" sz="3200" b="1" dirty="0" smtClean="0">
                <a:solidFill>
                  <a:srgbClr val="002060"/>
                </a:solidFill>
              </a:rPr>
            </a:br>
            <a:r>
              <a:rPr lang="fr-BE" sz="3200" b="1" dirty="0" smtClean="0">
                <a:solidFill>
                  <a:srgbClr val="002060"/>
                </a:solidFill>
              </a:rPr>
              <a:t>User Group</a:t>
            </a:r>
            <a:endParaRPr lang="en-GB" b="1" dirty="0" smtClean="0">
              <a:solidFill>
                <a:srgbClr val="002060"/>
              </a:solidFill>
            </a:endParaRPr>
          </a:p>
        </p:txBody>
      </p:sp>
      <p:pic>
        <p:nvPicPr>
          <p:cNvPr id="26628" name="Picture 5" descr="circuit3 Santé 200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847850"/>
            <a:ext cx="9144000" cy="2427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29" name="Rectangle 3"/>
          <p:cNvSpPr>
            <a:spLocks noGrp="1" noChangeArrowheads="1"/>
          </p:cNvSpPr>
          <p:nvPr>
            <p:ph idx="1"/>
          </p:nvPr>
        </p:nvSpPr>
        <p:spPr>
          <a:xfrm>
            <a:off x="215516" y="4869160"/>
            <a:ext cx="8712968" cy="1906289"/>
          </a:xfrm>
        </p:spPr>
        <p:txBody>
          <a:bodyPr/>
          <a:lstStyle/>
          <a:p>
            <a:pPr algn="ctr" eaLnBrk="1" hangingPunct="1">
              <a:buFont typeface="Arial" pitchFamily="34" charset="0"/>
              <a:buNone/>
            </a:pPr>
            <a:r>
              <a:rPr lang="en-US" dirty="0" smtClean="0"/>
              <a:t>	</a:t>
            </a:r>
            <a:r>
              <a:rPr lang="en-US" sz="2400" dirty="0" smtClean="0"/>
              <a:t>To lead the healthcare sector to the successful development and implementation of </a:t>
            </a:r>
            <a:r>
              <a:rPr lang="en-US" sz="2400" b="1" dirty="0" smtClean="0">
                <a:solidFill>
                  <a:srgbClr val="F26334"/>
                </a:solidFill>
              </a:rPr>
              <a:t>global standards </a:t>
            </a:r>
            <a:r>
              <a:rPr lang="en-US" sz="2400" dirty="0" smtClean="0"/>
              <a:t>by bringing together </a:t>
            </a:r>
            <a:r>
              <a:rPr lang="en-US" sz="2400" b="1" dirty="0" smtClean="0">
                <a:solidFill>
                  <a:srgbClr val="F26334"/>
                </a:solidFill>
              </a:rPr>
              <a:t>experts</a:t>
            </a:r>
            <a:r>
              <a:rPr lang="en-US" sz="2400" dirty="0" smtClean="0"/>
              <a:t> in healthcare to enhance </a:t>
            </a:r>
            <a:r>
              <a:rPr lang="en-US" sz="2400" b="1" dirty="0" smtClean="0">
                <a:solidFill>
                  <a:srgbClr val="F26334"/>
                </a:solidFill>
              </a:rPr>
              <a:t>patient safety </a:t>
            </a:r>
            <a:r>
              <a:rPr lang="en-US" sz="2400" dirty="0" smtClean="0"/>
              <a:t>and </a:t>
            </a:r>
            <a:r>
              <a:rPr lang="en-US" sz="2400" b="1" dirty="0" smtClean="0">
                <a:solidFill>
                  <a:srgbClr val="F26334"/>
                </a:solidFill>
              </a:rPr>
              <a:t>supply chain efficiencies</a:t>
            </a:r>
            <a:r>
              <a:rPr lang="en-US" sz="2400" dirty="0" smtClean="0"/>
              <a:t>.</a:t>
            </a:r>
          </a:p>
          <a:p>
            <a:pPr algn="ctr" eaLnBrk="1" hangingPunct="1">
              <a:buFontTx/>
              <a:buChar char="•"/>
            </a:pPr>
            <a:endParaRPr lang="en-US" sz="2000" dirty="0" smtClean="0"/>
          </a:p>
          <a:p>
            <a:pPr algn="ctr" eaLnBrk="1" hangingPunct="1">
              <a:buFontTx/>
              <a:buChar char="•"/>
            </a:pPr>
            <a:endParaRPr lang="en-US" dirty="0" smtClean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20" y="1354078"/>
            <a:ext cx="5040560" cy="42590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18568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xit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" dur="1000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19250" y="381000"/>
            <a:ext cx="5905500" cy="301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3010803" y="3524250"/>
            <a:ext cx="3122393" cy="76944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4400" b="1" dirty="0" smtClean="0">
                <a:solidFill>
                  <a:srgbClr val="F26334"/>
                </a:solidFill>
                <a:latin typeface="+mj-lt"/>
              </a:rPr>
              <a:t>WHY GS1?</a:t>
            </a:r>
            <a:endParaRPr lang="en-US" sz="4400" b="1" dirty="0">
              <a:solidFill>
                <a:srgbClr val="F26334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0285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Number Placeholder 2"/>
          <p:cNvSpPr>
            <a:spLocks noGrp="1"/>
          </p:cNvSpPr>
          <p:nvPr>
            <p:ph type="sldNum" sz="quarter" idx="10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defRPr>
                <a:solidFill>
                  <a:srgbClr val="002C6C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rgbClr val="002C6C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rgbClr val="002C6C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rgbClr val="002C6C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rgbClr val="002C6C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rgbClr val="002C6C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rgbClr val="002C6C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rgbClr val="002C6C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rgbClr val="002C6C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fld id="{8C077613-1417-456D-91AA-47C544454D0D}" type="slidenum">
              <a:rPr lang="en-US" smtClean="0">
                <a:solidFill>
                  <a:schemeClr val="tx1"/>
                </a:solidFill>
              </a:rPr>
              <a:pPr eaLnBrk="1" hangingPunct="1">
                <a:spcBef>
                  <a:spcPct val="0"/>
                </a:spcBef>
                <a:defRPr/>
              </a:pPr>
              <a:t>24</a:t>
            </a:fld>
            <a:endParaRPr lang="en-US" smtClean="0">
              <a:solidFill>
                <a:schemeClr val="tx1"/>
              </a:solidFill>
            </a:endParaRPr>
          </a:p>
        </p:txBody>
      </p:sp>
      <p:pic>
        <p:nvPicPr>
          <p:cNvPr id="47107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0"/>
          <a:stretch>
            <a:fillRect/>
          </a:stretch>
        </p:blipFill>
        <p:spPr>
          <a:xfrm>
            <a:off x="520700" y="2072357"/>
            <a:ext cx="2239963" cy="3143250"/>
          </a:xfrm>
        </p:spPr>
      </p:pic>
      <p:sp>
        <p:nvSpPr>
          <p:cNvPr id="47108" name="TextBox 7"/>
          <p:cNvSpPr txBox="1">
            <a:spLocks noChangeArrowheads="1"/>
          </p:cNvSpPr>
          <p:nvPr/>
        </p:nvSpPr>
        <p:spPr bwMode="auto">
          <a:xfrm>
            <a:off x="2955925" y="2085415"/>
            <a:ext cx="5730875" cy="3933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rgbClr val="002C6C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002C6C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002C6C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002C6C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002C6C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2C6C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2C6C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2C6C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2C6C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US" sz="2000" dirty="0">
                <a:ea typeface="ＭＳ Ｐゴシック" pitchFamily="34" charset="-128"/>
              </a:rPr>
              <a:t>New McKinsey report “Strength in unity: The promise of global standards in healthcare</a:t>
            </a:r>
            <a:r>
              <a:rPr lang="en-US" sz="2000" i="1" dirty="0"/>
              <a:t>”</a:t>
            </a:r>
            <a:endParaRPr lang="en-US" sz="2000" dirty="0"/>
          </a:p>
          <a:p>
            <a:pPr eaLnBrk="1" hangingPunct="1">
              <a:spcBef>
                <a:spcPct val="20000"/>
              </a:spcBef>
            </a:pPr>
            <a:endParaRPr lang="en-US" sz="2000" dirty="0"/>
          </a:p>
          <a:p>
            <a:pPr eaLnBrk="1" hangingPunct="1">
              <a:spcBef>
                <a:spcPct val="20000"/>
              </a:spcBef>
            </a:pPr>
            <a:r>
              <a:rPr lang="en-US" sz="2000" b="1" dirty="0"/>
              <a:t>Highlights the cost savings and patient safety benefits of adopting a single global supply chain standard in healthcare</a:t>
            </a:r>
          </a:p>
          <a:p>
            <a:pPr eaLnBrk="1" hangingPunct="1">
              <a:spcBef>
                <a:spcPct val="20000"/>
              </a:spcBef>
            </a:pPr>
            <a:endParaRPr lang="en-US" sz="2000" dirty="0"/>
          </a:p>
          <a:p>
            <a:pPr eaLnBrk="1" hangingPunct="1">
              <a:spcBef>
                <a:spcPct val="20000"/>
              </a:spcBef>
            </a:pPr>
            <a:r>
              <a:rPr lang="en-US" sz="1600" dirty="0"/>
              <a:t>Available at:</a:t>
            </a:r>
          </a:p>
          <a:p>
            <a:pPr eaLnBrk="1" hangingPunct="1">
              <a:spcBef>
                <a:spcPct val="20000"/>
              </a:spcBef>
            </a:pPr>
            <a:r>
              <a:rPr lang="en-US" sz="1600" dirty="0">
                <a:hlinkClick r:id="rId3"/>
              </a:rPr>
              <a:t>http://www.gs1.org/healthcare/mckinsey</a:t>
            </a:r>
            <a:r>
              <a:rPr lang="en-US" sz="1600" dirty="0"/>
              <a:t>  </a:t>
            </a:r>
            <a:r>
              <a:rPr lang="en-US" sz="1600" dirty="0" smtClean="0"/>
              <a:t>or</a:t>
            </a:r>
          </a:p>
          <a:p>
            <a:pPr eaLnBrk="1" hangingPunct="1">
              <a:spcBef>
                <a:spcPct val="20000"/>
              </a:spcBef>
            </a:pPr>
            <a:r>
              <a:rPr lang="en-US" sz="1600" dirty="0">
                <a:solidFill>
                  <a:srgbClr val="F26334"/>
                </a:solidFill>
                <a:ea typeface="MS PGothic" pitchFamily="34" charset="-128"/>
                <a:hlinkClick r:id="rId4"/>
              </a:rPr>
              <a:t>http://www.gs1.org/docs/healthcare/McKinsey_Healthcare_Report_Strength_in_Unity.pdf</a:t>
            </a:r>
            <a:r>
              <a:rPr lang="en-US" sz="1600" dirty="0">
                <a:solidFill>
                  <a:srgbClr val="F26334"/>
                </a:solidFill>
                <a:ea typeface="MS PGothic" pitchFamily="34" charset="-128"/>
              </a:rPr>
              <a:t> </a:t>
            </a:r>
          </a:p>
          <a:p>
            <a:pPr eaLnBrk="1" hangingPunct="1">
              <a:spcBef>
                <a:spcPct val="20000"/>
              </a:spcBef>
            </a:pPr>
            <a:r>
              <a:rPr lang="en-US" sz="2000" dirty="0" smtClean="0"/>
              <a:t> </a:t>
            </a:r>
            <a:endParaRPr lang="en-US" sz="2000" dirty="0"/>
          </a:p>
        </p:txBody>
      </p:sp>
      <p:sp>
        <p:nvSpPr>
          <p:cNvPr id="9" name="TextBox 8"/>
          <p:cNvSpPr txBox="1"/>
          <p:nvPr/>
        </p:nvSpPr>
        <p:spPr>
          <a:xfrm>
            <a:off x="611560" y="304800"/>
            <a:ext cx="784887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800" b="1" dirty="0" smtClean="0">
                <a:solidFill>
                  <a:srgbClr val="002060"/>
                </a:solidFill>
                <a:latin typeface="+mj-lt"/>
                <a:ea typeface="ＭＳ Ｐゴシック" pitchFamily="34" charset="-128"/>
                <a:cs typeface="+mj-cs"/>
              </a:rPr>
              <a:t>McKinsey </a:t>
            </a:r>
            <a:r>
              <a:rPr lang="en-US" sz="2800" b="1" dirty="0">
                <a:solidFill>
                  <a:srgbClr val="002060"/>
                </a:solidFill>
                <a:latin typeface="+mj-lt"/>
                <a:ea typeface="ＭＳ Ｐゴシック" pitchFamily="34" charset="-128"/>
                <a:cs typeface="+mj-cs"/>
              </a:rPr>
              <a:t>&amp; Company report quantifies supply chain issues in Healthcare</a:t>
            </a:r>
          </a:p>
        </p:txBody>
      </p:sp>
      <p:sp>
        <p:nvSpPr>
          <p:cNvPr id="47110" name="TextBox 1"/>
          <p:cNvSpPr txBox="1">
            <a:spLocks noChangeArrowheads="1"/>
          </p:cNvSpPr>
          <p:nvPr/>
        </p:nvSpPr>
        <p:spPr bwMode="auto">
          <a:xfrm>
            <a:off x="425450" y="5486400"/>
            <a:ext cx="2470150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rgbClr val="002C6C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rgbClr val="002C6C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rgbClr val="002C6C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rgbClr val="002C6C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rgbClr val="002C6C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2C6C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2C6C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2C6C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2C6C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n-GB" sz="1200"/>
              <a:t>Source: </a:t>
            </a:r>
            <a:r>
              <a:rPr lang="en-GB" sz="1200">
                <a:hlinkClick r:id="rId5"/>
              </a:rPr>
              <a:t>http://www.mckinsey.com</a:t>
            </a:r>
            <a:endParaRPr lang="en-GB" sz="1200"/>
          </a:p>
          <a:p>
            <a:pPr eaLnBrk="1" hangingPunct="1">
              <a:spcBef>
                <a:spcPct val="20000"/>
              </a:spcBef>
            </a:pPr>
            <a:endParaRPr lang="en-GB" sz="1200"/>
          </a:p>
        </p:txBody>
      </p:sp>
    </p:spTree>
    <p:extLst>
      <p:ext uri="{BB962C8B-B14F-4D97-AF65-F5344CB8AC3E}">
        <p14:creationId xmlns:p14="http://schemas.microsoft.com/office/powerpoint/2010/main" val="3853749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itle 1"/>
          <p:cNvSpPr>
            <a:spLocks noGrp="1"/>
          </p:cNvSpPr>
          <p:nvPr>
            <p:ph type="title"/>
          </p:nvPr>
        </p:nvSpPr>
        <p:spPr>
          <a:xfrm>
            <a:off x="539552" y="381000"/>
            <a:ext cx="8147248" cy="936625"/>
          </a:xfrm>
        </p:spPr>
        <p:txBody>
          <a:bodyPr/>
          <a:lstStyle/>
          <a:p>
            <a:r>
              <a:rPr lang="en-GB" sz="2800" b="1" dirty="0" smtClean="0">
                <a:solidFill>
                  <a:srgbClr val="002060"/>
                </a:solidFill>
              </a:rPr>
              <a:t>Huge cost savings and patient safety benefits when adopting a single global standard in healthcare</a:t>
            </a:r>
          </a:p>
        </p:txBody>
      </p:sp>
      <p:sp>
        <p:nvSpPr>
          <p:cNvPr id="43011" name="Slide Number Placeholder 2"/>
          <p:cNvSpPr>
            <a:spLocks noGrp="1"/>
          </p:cNvSpPr>
          <p:nvPr>
            <p:ph type="sldNum" sz="quarter" idx="10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defRPr>
                <a:solidFill>
                  <a:srgbClr val="002C6C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rgbClr val="002C6C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rgbClr val="002C6C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rgbClr val="002C6C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rgbClr val="002C6C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rgbClr val="002C6C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rgbClr val="002C6C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rgbClr val="002C6C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rgbClr val="002C6C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defRPr/>
            </a:pPr>
            <a:fld id="{89B86038-F941-4087-B53A-CFDAF4033C8E}" type="slidenum">
              <a:rPr lang="en-US" smtClean="0">
                <a:solidFill>
                  <a:schemeClr val="tx1"/>
                </a:solidFill>
              </a:rPr>
              <a:pPr eaLnBrk="1" hangingPunct="1">
                <a:spcBef>
                  <a:spcPct val="0"/>
                </a:spcBef>
                <a:defRPr/>
              </a:pPr>
              <a:t>25</a:t>
            </a:fld>
            <a:endParaRPr lang="en-US" smtClean="0">
              <a:solidFill>
                <a:schemeClr val="tx1"/>
              </a:solidFill>
            </a:endParaRPr>
          </a:p>
        </p:txBody>
      </p:sp>
      <p:sp>
        <p:nvSpPr>
          <p:cNvPr id="48132" name="Content Placeholder 3"/>
          <p:cNvSpPr>
            <a:spLocks noGrp="1"/>
          </p:cNvSpPr>
          <p:nvPr>
            <p:ph sz="half" idx="1"/>
          </p:nvPr>
        </p:nvSpPr>
        <p:spPr>
          <a:xfrm>
            <a:off x="514350" y="1752600"/>
            <a:ext cx="8172450" cy="4572000"/>
          </a:xfrm>
        </p:spPr>
        <p:txBody>
          <a:bodyPr/>
          <a:lstStyle/>
          <a:p>
            <a:pPr marL="0" indent="0">
              <a:lnSpc>
                <a:spcPct val="80000"/>
              </a:lnSpc>
            </a:pPr>
            <a:r>
              <a:rPr lang="en-GB" sz="2200" dirty="0" smtClean="0"/>
              <a:t>“Implementing </a:t>
            </a:r>
            <a:r>
              <a:rPr lang="en-GB" sz="2200" b="1" dirty="0" smtClean="0">
                <a:solidFill>
                  <a:schemeClr val="accent4"/>
                </a:solidFill>
                <a:ea typeface="ＭＳ Ｐゴシック" pitchFamily="34" charset="-128"/>
              </a:rPr>
              <a:t>global standards </a:t>
            </a:r>
            <a:r>
              <a:rPr lang="en-GB" sz="2200" dirty="0" smtClean="0"/>
              <a:t>across the entire healthcare supply chain </a:t>
            </a:r>
            <a:r>
              <a:rPr lang="en-GB" sz="2200" b="1" dirty="0" smtClean="0">
                <a:solidFill>
                  <a:schemeClr val="accent4"/>
                </a:solidFill>
                <a:ea typeface="ＭＳ Ｐゴシック" pitchFamily="34" charset="-128"/>
              </a:rPr>
              <a:t>could save 22,000-43,000 lives </a:t>
            </a:r>
            <a:r>
              <a:rPr lang="en-GB" sz="2200" dirty="0" smtClean="0"/>
              <a:t>and avert 0.7 million to 1.4 million patient disabilities” </a:t>
            </a:r>
          </a:p>
          <a:p>
            <a:pPr marL="0" indent="0">
              <a:lnSpc>
                <a:spcPct val="80000"/>
              </a:lnSpc>
            </a:pPr>
            <a:endParaRPr lang="en-GB" sz="2200" dirty="0" smtClean="0"/>
          </a:p>
          <a:p>
            <a:pPr marL="0" indent="0">
              <a:lnSpc>
                <a:spcPct val="80000"/>
              </a:lnSpc>
            </a:pPr>
            <a:r>
              <a:rPr lang="en-GB" sz="2200" dirty="0" smtClean="0"/>
              <a:t>“Rolling out such standards-based systems globally </a:t>
            </a:r>
            <a:r>
              <a:rPr lang="en-GB" sz="2200" b="1" dirty="0" smtClean="0">
                <a:solidFill>
                  <a:schemeClr val="accent4"/>
                </a:solidFill>
                <a:ea typeface="ＭＳ Ｐゴシック" pitchFamily="34" charset="-128"/>
              </a:rPr>
              <a:t>could prevent tens of billions of dollars’ worth of counterfeit drugs</a:t>
            </a:r>
            <a:r>
              <a:rPr lang="en-GB" sz="2200" b="1" dirty="0" smtClean="0">
                <a:solidFill>
                  <a:schemeClr val="accent4"/>
                </a:solidFill>
              </a:rPr>
              <a:t> </a:t>
            </a:r>
            <a:r>
              <a:rPr lang="en-GB" sz="2200" dirty="0" smtClean="0"/>
              <a:t>from entering the legitimate supply chain</a:t>
            </a:r>
            <a:r>
              <a:rPr lang="en-GB" sz="2200" b="1" dirty="0" smtClean="0"/>
              <a:t>”</a:t>
            </a:r>
          </a:p>
          <a:p>
            <a:pPr marL="0" indent="0">
              <a:lnSpc>
                <a:spcPct val="80000"/>
              </a:lnSpc>
            </a:pPr>
            <a:endParaRPr lang="en-GB" sz="2200" dirty="0" smtClean="0"/>
          </a:p>
          <a:p>
            <a:pPr marL="0" indent="0">
              <a:lnSpc>
                <a:spcPct val="80000"/>
              </a:lnSpc>
            </a:pPr>
            <a:r>
              <a:rPr lang="en-GB" sz="2200" dirty="0" smtClean="0"/>
              <a:t>[We] “estimate that </a:t>
            </a:r>
            <a:r>
              <a:rPr lang="en-GB" sz="2200" b="1" dirty="0" smtClean="0">
                <a:solidFill>
                  <a:schemeClr val="accent4"/>
                </a:solidFill>
                <a:ea typeface="ＭＳ Ｐゴシック" pitchFamily="34" charset="-128"/>
              </a:rPr>
              <a:t>healthcare cost could be reduced by $40 billion-$100 billion globally</a:t>
            </a:r>
            <a:r>
              <a:rPr lang="en-GB" sz="2200" dirty="0" smtClean="0">
                <a:solidFill>
                  <a:schemeClr val="accent4"/>
                </a:solidFill>
              </a:rPr>
              <a:t>” </a:t>
            </a:r>
            <a:r>
              <a:rPr lang="en-GB" sz="2200" dirty="0" smtClean="0"/>
              <a:t>from the implementation of global standards</a:t>
            </a:r>
          </a:p>
          <a:p>
            <a:pPr marL="0" indent="0">
              <a:lnSpc>
                <a:spcPct val="80000"/>
              </a:lnSpc>
            </a:pPr>
            <a:endParaRPr lang="en-GB" sz="2200" dirty="0" smtClean="0"/>
          </a:p>
          <a:p>
            <a:pPr marL="0" indent="0">
              <a:lnSpc>
                <a:spcPct val="80000"/>
              </a:lnSpc>
            </a:pPr>
            <a:r>
              <a:rPr lang="en-GB" sz="2200" dirty="0" smtClean="0"/>
              <a:t>“Adopting </a:t>
            </a:r>
            <a:r>
              <a:rPr lang="en-GB" sz="2200" b="1" dirty="0" smtClean="0">
                <a:solidFill>
                  <a:schemeClr val="accent4"/>
                </a:solidFill>
                <a:ea typeface="ＭＳ Ｐゴシック" pitchFamily="34" charset="-128"/>
              </a:rPr>
              <a:t>a single set of global standards </a:t>
            </a:r>
            <a:r>
              <a:rPr lang="en-GB" sz="2200" dirty="0" smtClean="0"/>
              <a:t>will cost significantly less than two” (between 10-25% less cost to stakeholders) </a:t>
            </a:r>
          </a:p>
        </p:txBody>
      </p:sp>
      <p:sp>
        <p:nvSpPr>
          <p:cNvPr id="48133" name="Rectangle 36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609600" y="6429375"/>
            <a:ext cx="82296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914400" indent="-914400" eaLnBrk="0" hangingPunct="0">
              <a:spcBef>
                <a:spcPct val="20000"/>
              </a:spcBef>
              <a:buClr>
                <a:srgbClr val="F26334"/>
              </a:buClr>
              <a:buFont typeface="Arial" charset="0"/>
              <a:buNone/>
            </a:pPr>
            <a:r>
              <a:rPr lang="en-US" sz="1200">
                <a:ea typeface="ＭＳ Ｐゴシック" pitchFamily="34" charset="-128"/>
              </a:rPr>
              <a:t> SOURCE: McKinsey report, “Strength in unity: The promise of global standards in healthcare”, October 2012</a:t>
            </a:r>
          </a:p>
        </p:txBody>
      </p:sp>
    </p:spTree>
    <p:extLst>
      <p:ext uri="{BB962C8B-B14F-4D97-AF65-F5344CB8AC3E}">
        <p14:creationId xmlns:p14="http://schemas.microsoft.com/office/powerpoint/2010/main" val="3895478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b="1" smtClean="0">
                <a:solidFill>
                  <a:srgbClr val="002060"/>
                </a:solidFill>
              </a:rPr>
              <a:t>Imagine….</a:t>
            </a:r>
          </a:p>
        </p:txBody>
      </p:sp>
      <p:sp>
        <p:nvSpPr>
          <p:cNvPr id="1843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E" sz="2800" smtClean="0"/>
              <a:t>If all medication could be tracked from manufacturer to the patient</a:t>
            </a:r>
          </a:p>
          <a:p>
            <a:r>
              <a:rPr lang="en-IE" sz="2800" smtClean="0"/>
              <a:t>Imagine if the patient could verify that the medication was safe to take even in their own home</a:t>
            </a:r>
          </a:p>
          <a:p>
            <a:r>
              <a:rPr lang="en-IE" sz="2800" smtClean="0"/>
              <a:t>Imagine that hospitals could remotely monitor patient medication compliance</a:t>
            </a:r>
          </a:p>
          <a:p>
            <a:r>
              <a:rPr lang="en-IE" sz="2800" smtClean="0"/>
              <a:t>Imagine if governments/regulators could be assured of a total medication recall</a:t>
            </a:r>
          </a:p>
        </p:txBody>
      </p:sp>
    </p:spTree>
    <p:extLst>
      <p:ext uri="{BB962C8B-B14F-4D97-AF65-F5344CB8AC3E}">
        <p14:creationId xmlns:p14="http://schemas.microsoft.com/office/powerpoint/2010/main" val="4009897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IE" b="1" smtClean="0">
                <a:solidFill>
                  <a:srgbClr val="002060"/>
                </a:solidFill>
              </a:rPr>
              <a:t>Case Study</a:t>
            </a:r>
            <a:endParaRPr lang="en-GB" b="1" smtClean="0">
              <a:solidFill>
                <a:srgbClr val="002060"/>
              </a:solidFill>
            </a:endParaRP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1978025"/>
            <a:ext cx="8229600" cy="4525963"/>
          </a:xfrm>
        </p:spPr>
        <p:txBody>
          <a:bodyPr/>
          <a:lstStyle/>
          <a:p>
            <a:pPr algn="ctr" eaLnBrk="1" hangingPunct="1">
              <a:buFontTx/>
              <a:buNone/>
            </a:pPr>
            <a:r>
              <a:rPr lang="en-IE" smtClean="0"/>
              <a:t>The use of GS1 standards to enhance patient safety, improve medication recording compliance and reduce costs</a:t>
            </a:r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551302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title"/>
          </p:nvPr>
        </p:nvSpPr>
        <p:spPr>
          <a:xfrm>
            <a:off x="1187450" y="260350"/>
            <a:ext cx="6877050" cy="936625"/>
          </a:xfrm>
        </p:spPr>
        <p:txBody>
          <a:bodyPr/>
          <a:lstStyle/>
          <a:p>
            <a:pPr eaLnBrk="1" hangingPunct="1"/>
            <a:r>
              <a:rPr lang="en-GB" sz="3200" b="1" smtClean="0">
                <a:solidFill>
                  <a:srgbClr val="091D67"/>
                </a:solidFill>
              </a:rPr>
              <a:t>National Centre for Hereditary Coagulation Disorders (NCHCD)</a:t>
            </a:r>
          </a:p>
        </p:txBody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2011363"/>
            <a:ext cx="8229600" cy="4525962"/>
          </a:xfrm>
        </p:spPr>
        <p:txBody>
          <a:bodyPr/>
          <a:lstStyle/>
          <a:p>
            <a:pPr eaLnBrk="1" hangingPunct="1"/>
            <a:r>
              <a:rPr lang="en-GB" sz="2400" smtClean="0"/>
              <a:t>Located at St James’s Hospital, Dublin, Ireland</a:t>
            </a:r>
          </a:p>
          <a:p>
            <a:pPr eaLnBrk="1" hangingPunct="1"/>
            <a:r>
              <a:rPr lang="en-GB" sz="2400" smtClean="0"/>
              <a:t>Manages patients with inherited and acquired bleeding disorders</a:t>
            </a:r>
          </a:p>
          <a:p>
            <a:pPr eaLnBrk="1" hangingPunct="1"/>
            <a:r>
              <a:rPr lang="en-GB" sz="2400" smtClean="0"/>
              <a:t>Approximately 2000 patients with Haemophilia</a:t>
            </a:r>
          </a:p>
          <a:p>
            <a:pPr eaLnBrk="1" hangingPunct="1"/>
            <a:r>
              <a:rPr lang="en-GB" sz="2400" smtClean="0"/>
              <a:t>Approximately 200 patients with severe haemophilia (require intensive care/treatment)</a:t>
            </a:r>
          </a:p>
          <a:p>
            <a:pPr eaLnBrk="1" hangingPunct="1"/>
            <a:r>
              <a:rPr lang="en-GB" sz="2400" smtClean="0"/>
              <a:t>Medication budget is ~ €45 M</a:t>
            </a:r>
          </a:p>
          <a:p>
            <a:pPr eaLnBrk="1" hangingPunct="1"/>
            <a:r>
              <a:rPr lang="en-GB" sz="2400" smtClean="0"/>
              <a:t>Over 75% Patients with severe Haemophilia self medicate at home</a:t>
            </a:r>
          </a:p>
          <a:p>
            <a:pPr eaLnBrk="1" hangingPunct="1"/>
            <a:endParaRPr lang="en-GB" sz="2400" smtClean="0"/>
          </a:p>
        </p:txBody>
      </p:sp>
    </p:spTree>
    <p:extLst>
      <p:ext uri="{BB962C8B-B14F-4D97-AF65-F5344CB8AC3E}">
        <p14:creationId xmlns:p14="http://schemas.microsoft.com/office/powerpoint/2010/main" val="2680144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404813"/>
            <a:ext cx="7543800" cy="1295400"/>
          </a:xfrm>
        </p:spPr>
        <p:txBody>
          <a:bodyPr/>
          <a:lstStyle/>
          <a:p>
            <a:pPr eaLnBrk="1" hangingPunct="1"/>
            <a:r>
              <a:rPr lang="en-IE" sz="3200" b="1" smtClean="0">
                <a:solidFill>
                  <a:srgbClr val="091D67"/>
                </a:solidFill>
              </a:rPr>
              <a:t>What is Haemophilia and why is traceability important?</a:t>
            </a:r>
            <a:endParaRPr lang="en-GB" sz="3200" b="1" smtClean="0">
              <a:solidFill>
                <a:srgbClr val="091D67"/>
              </a:solidFill>
            </a:endParaRPr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73050" y="1700213"/>
            <a:ext cx="8229600" cy="4411662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en-GB" sz="2000" smtClean="0"/>
              <a:t>Haemophilia is a </a:t>
            </a:r>
            <a:r>
              <a:rPr lang="en-GB" sz="2000" smtClean="0">
                <a:solidFill>
                  <a:srgbClr val="091D67"/>
                </a:solidFill>
              </a:rPr>
              <a:t>Chronic Disease</a:t>
            </a:r>
            <a:r>
              <a:rPr lang="en-GB" sz="2000" smtClean="0"/>
              <a:t>, it is a bleeding disorder caused by a deficiency of a clotting factor</a:t>
            </a:r>
          </a:p>
          <a:p>
            <a:pPr eaLnBrk="1" hangingPunct="1">
              <a:lnSpc>
                <a:spcPct val="80000"/>
              </a:lnSpc>
            </a:pPr>
            <a:endParaRPr lang="en-GB" sz="2000" smtClean="0"/>
          </a:p>
          <a:p>
            <a:pPr eaLnBrk="1" hangingPunct="1">
              <a:lnSpc>
                <a:spcPct val="80000"/>
              </a:lnSpc>
            </a:pPr>
            <a:r>
              <a:rPr lang="en-IE" sz="2000" smtClean="0"/>
              <a:t>Incidence is between 1:5,000 and 1: 10,000 Males</a:t>
            </a:r>
            <a:endParaRPr lang="en-GB" sz="2000" smtClean="0"/>
          </a:p>
          <a:p>
            <a:pPr eaLnBrk="1" hangingPunct="1">
              <a:lnSpc>
                <a:spcPct val="80000"/>
              </a:lnSpc>
            </a:pPr>
            <a:endParaRPr lang="en-GB" sz="2000" smtClean="0"/>
          </a:p>
          <a:p>
            <a:pPr eaLnBrk="1" hangingPunct="1">
              <a:lnSpc>
                <a:spcPct val="80000"/>
              </a:lnSpc>
            </a:pPr>
            <a:r>
              <a:rPr lang="en-GB" sz="2000" smtClean="0"/>
              <a:t>The treatment of haemophilia involves the replacement of the clotting factor (previously prepared from pooled plasma) using a concentrated preparation “Clotting Factor Concentrate” (CFC)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en-GB" sz="2000" smtClean="0"/>
          </a:p>
          <a:p>
            <a:pPr eaLnBrk="1" hangingPunct="1">
              <a:lnSpc>
                <a:spcPct val="80000"/>
              </a:lnSpc>
            </a:pPr>
            <a:r>
              <a:rPr lang="en-IE" sz="2000" b="1" i="1" u="sng" smtClean="0"/>
              <a:t>Patients required to self treat at home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en-GB" sz="2000" b="1" i="1" u="sng" smtClean="0"/>
          </a:p>
          <a:p>
            <a:pPr eaLnBrk="1" hangingPunct="1">
              <a:lnSpc>
                <a:spcPct val="80000"/>
              </a:lnSpc>
            </a:pPr>
            <a:r>
              <a:rPr lang="en-GB" sz="2000" smtClean="0"/>
              <a:t>Lack of prompt response can lead to prolonged hospitalisation, decreased quality of life and misuse or wastage of expensive plasma and recombinant products</a:t>
            </a:r>
          </a:p>
          <a:p>
            <a:pPr eaLnBrk="1" hangingPunct="1">
              <a:lnSpc>
                <a:spcPct val="80000"/>
              </a:lnSpc>
            </a:pPr>
            <a:endParaRPr lang="en-GB" sz="2000" smtClean="0"/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en-GB" sz="2000" smtClean="0"/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en-GB" sz="2400" smtClean="0"/>
          </a:p>
        </p:txBody>
      </p:sp>
    </p:spTree>
    <p:extLst>
      <p:ext uri="{BB962C8B-B14F-4D97-AF65-F5344CB8AC3E}">
        <p14:creationId xmlns:p14="http://schemas.microsoft.com/office/powerpoint/2010/main" val="1934403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19250" y="381000"/>
            <a:ext cx="5905500" cy="301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3491880" y="3015704"/>
            <a:ext cx="1845377" cy="76944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4400" b="1" dirty="0" smtClean="0">
                <a:solidFill>
                  <a:srgbClr val="F26334"/>
                </a:solidFill>
                <a:latin typeface="+mj-lt"/>
              </a:rPr>
              <a:t>WHY?</a:t>
            </a:r>
            <a:endParaRPr lang="en-US" sz="4400" b="1" dirty="0">
              <a:solidFill>
                <a:srgbClr val="F26334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7441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en-US" smtClean="0"/>
          </a:p>
        </p:txBody>
      </p:sp>
      <p:pic>
        <p:nvPicPr>
          <p:cNvPr id="22532" name="Picture 4" descr="BOM%20Bosnia%202005%20Photos%2001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704638" cy="877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77190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title"/>
          </p:nvPr>
        </p:nvSpPr>
        <p:spPr>
          <a:xfrm>
            <a:off x="468313" y="0"/>
            <a:ext cx="8229600" cy="1143000"/>
          </a:xfrm>
        </p:spPr>
        <p:txBody>
          <a:bodyPr/>
          <a:lstStyle/>
          <a:p>
            <a:pPr eaLnBrk="1" hangingPunct="1"/>
            <a:r>
              <a:rPr lang="en-IE" b="1" smtClean="0">
                <a:solidFill>
                  <a:srgbClr val="091D67"/>
                </a:solidFill>
              </a:rPr>
              <a:t>What triggered the initiative?</a:t>
            </a:r>
            <a:endParaRPr lang="en-GB" b="1" smtClean="0">
              <a:solidFill>
                <a:srgbClr val="091D67"/>
              </a:solidFill>
            </a:endParaRPr>
          </a:p>
        </p:txBody>
      </p:sp>
      <p:sp>
        <p:nvSpPr>
          <p:cNvPr id="24473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68313" y="1143000"/>
            <a:ext cx="8229600" cy="4525963"/>
          </a:xfrm>
        </p:spPr>
        <p:txBody>
          <a:bodyPr/>
          <a:lstStyle/>
          <a:p>
            <a:pPr algn="ctr" eaLnBrk="1" hangingPunct="1">
              <a:buClr>
                <a:schemeClr val="accent1"/>
              </a:buClr>
              <a:buSzPct val="80000"/>
              <a:buFontTx/>
              <a:buNone/>
              <a:defRPr/>
            </a:pPr>
            <a:r>
              <a:rPr lang="en-IE" sz="4400" b="1" i="1" dirty="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Catastrophic Event</a:t>
            </a:r>
          </a:p>
          <a:p>
            <a:pPr algn="ctr" eaLnBrk="1" hangingPunct="1">
              <a:buClr>
                <a:schemeClr val="accent1"/>
              </a:buClr>
              <a:buSzPct val="80000"/>
              <a:buFontTx/>
              <a:buNone/>
              <a:defRPr/>
            </a:pPr>
            <a:endParaRPr lang="en-IE" sz="3600" b="1" i="1" dirty="0" smtClean="0"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 algn="ctr" eaLnBrk="1" hangingPunct="1">
              <a:buClr>
                <a:schemeClr val="accent1"/>
              </a:buClr>
              <a:buSzPct val="80000"/>
              <a:buFontTx/>
              <a:buNone/>
              <a:defRPr/>
            </a:pPr>
            <a:r>
              <a:rPr lang="en-IE" sz="2400" i="1" dirty="0" smtClean="0"/>
              <a:t>Failure of Supply Chain-</a:t>
            </a:r>
          </a:p>
          <a:p>
            <a:pPr algn="ctr" eaLnBrk="1" hangingPunct="1">
              <a:buClr>
                <a:schemeClr val="accent1"/>
              </a:buClr>
              <a:buSzPct val="80000"/>
              <a:buFontTx/>
              <a:buNone/>
              <a:defRPr/>
            </a:pPr>
            <a:r>
              <a:rPr lang="en-IE" sz="2400" i="1" dirty="0" smtClean="0"/>
              <a:t>Infection of patients with Hepatitis C and HIV due to contaminated blood products. </a:t>
            </a:r>
            <a:r>
              <a:rPr lang="en-IE" sz="2400" b="1" i="1" dirty="0" smtClean="0"/>
              <a:t>Infected medication remained in the supply chain after recall - leading to subsequent infection</a:t>
            </a:r>
            <a:r>
              <a:rPr lang="en-IE" sz="2400" dirty="0" smtClean="0"/>
              <a:t> </a:t>
            </a:r>
          </a:p>
          <a:p>
            <a:pPr algn="ctr" eaLnBrk="1" hangingPunct="1">
              <a:buClr>
                <a:schemeClr val="accent1"/>
              </a:buClr>
              <a:buSzPct val="80000"/>
              <a:buFontTx/>
              <a:buNone/>
              <a:defRPr/>
            </a:pPr>
            <a:endParaRPr lang="en-IE" sz="2400" dirty="0" smtClean="0"/>
          </a:p>
          <a:p>
            <a:pPr algn="ctr" eaLnBrk="1" hangingPunct="1">
              <a:buFontTx/>
              <a:buNone/>
              <a:defRPr/>
            </a:pPr>
            <a:r>
              <a:rPr lang="en-IE" sz="2400" dirty="0" smtClean="0"/>
              <a:t>Over 100 people died in Ireland alone</a:t>
            </a:r>
            <a:endParaRPr lang="en-GB" sz="2400" dirty="0" smtClean="0"/>
          </a:p>
        </p:txBody>
      </p:sp>
    </p:spTree>
    <p:extLst>
      <p:ext uri="{BB962C8B-B14F-4D97-AF65-F5344CB8AC3E}">
        <p14:creationId xmlns:p14="http://schemas.microsoft.com/office/powerpoint/2010/main" val="937210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b="1" dirty="0" smtClean="0">
                <a:solidFill>
                  <a:srgbClr val="091D67"/>
                </a:solidFill>
              </a:rPr>
              <a:t>Lindsay Report 2001</a:t>
            </a:r>
          </a:p>
        </p:txBody>
      </p:sp>
      <p:sp>
        <p:nvSpPr>
          <p:cNvPr id="3399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buFontTx/>
              <a:buNone/>
              <a:defRPr/>
            </a:pPr>
            <a:r>
              <a:rPr lang="en-GB" dirty="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             Main Recommendations</a:t>
            </a:r>
          </a:p>
          <a:p>
            <a:pPr algn="ctr" eaLnBrk="1" hangingPunct="1">
              <a:buFontTx/>
              <a:buNone/>
              <a:defRPr/>
            </a:pPr>
            <a:endParaRPr lang="en-GB" dirty="0" smtClean="0"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 lvl="1" eaLnBrk="1" hangingPunct="1">
              <a:defRPr/>
            </a:pPr>
            <a:r>
              <a:rPr lang="en-GB" dirty="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Improve communication between                         treatment centres</a:t>
            </a:r>
          </a:p>
          <a:p>
            <a:pPr lvl="1" eaLnBrk="1" hangingPunct="1">
              <a:defRPr/>
            </a:pPr>
            <a:r>
              <a:rPr lang="en-IE" dirty="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The </a:t>
            </a:r>
            <a:r>
              <a:rPr lang="en-IE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blood products supplied to persons with haemophilia should be of the </a:t>
            </a:r>
            <a:r>
              <a:rPr lang="en-IE" dirty="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highest standard </a:t>
            </a:r>
            <a:r>
              <a:rPr lang="en-IE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and of the safest nature that are </a:t>
            </a:r>
            <a:r>
              <a:rPr lang="en-IE" dirty="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available</a:t>
            </a:r>
            <a:endParaRPr lang="en-GB" dirty="0" smtClean="0"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 marL="457200" lvl="1" indent="0" eaLnBrk="1" hangingPunct="1">
              <a:buNone/>
              <a:defRPr/>
            </a:pPr>
            <a:endParaRPr lang="en-GB" dirty="0" smtClean="0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2186" y="0"/>
            <a:ext cx="4618037" cy="6637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39486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/>
          </p:nvPr>
        </p:nvSpPr>
        <p:spPr>
          <a:xfrm>
            <a:off x="250825" y="404813"/>
            <a:ext cx="8893175" cy="936625"/>
          </a:xfrm>
        </p:spPr>
        <p:txBody>
          <a:bodyPr/>
          <a:lstStyle/>
          <a:p>
            <a:pPr eaLnBrk="1" hangingPunct="1"/>
            <a:r>
              <a:rPr lang="en-IE" sz="4000" b="1" smtClean="0">
                <a:solidFill>
                  <a:srgbClr val="091D67"/>
                </a:solidFill>
              </a:rPr>
              <a:t>Medication Supply chain…..where we were</a:t>
            </a:r>
            <a:endParaRPr lang="en-GB" sz="4000" b="1" smtClean="0">
              <a:solidFill>
                <a:srgbClr val="091D67"/>
              </a:solidFill>
            </a:endParaRPr>
          </a:p>
        </p:txBody>
      </p:sp>
      <p:pic>
        <p:nvPicPr>
          <p:cNvPr id="245763" name="Picture 3" descr="j0285360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5288" y="2781300"/>
            <a:ext cx="1227137" cy="151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764" name="Picture 4" descr="MPj04387060000[1]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11638" y="2781300"/>
            <a:ext cx="1071562" cy="136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765" name="Picture 5" descr="j018560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40425" y="2708275"/>
            <a:ext cx="1222375" cy="1225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766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95513" y="2708275"/>
            <a:ext cx="1441450" cy="151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767" name="AutoShape 7"/>
          <p:cNvSpPr>
            <a:spLocks noChangeArrowheads="1"/>
          </p:cNvSpPr>
          <p:nvPr/>
        </p:nvSpPr>
        <p:spPr bwMode="auto">
          <a:xfrm>
            <a:off x="611188" y="2205038"/>
            <a:ext cx="1439862" cy="503237"/>
          </a:xfrm>
          <a:prstGeom prst="curvedDownArrow">
            <a:avLst>
              <a:gd name="adj1" fmla="val 57224"/>
              <a:gd name="adj2" fmla="val 114448"/>
              <a:gd name="adj3" fmla="val 33333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E"/>
          </a:p>
        </p:txBody>
      </p:sp>
      <p:sp>
        <p:nvSpPr>
          <p:cNvPr id="245768" name="AutoShape 8"/>
          <p:cNvSpPr>
            <a:spLocks noChangeArrowheads="1"/>
          </p:cNvSpPr>
          <p:nvPr/>
        </p:nvSpPr>
        <p:spPr bwMode="auto">
          <a:xfrm>
            <a:off x="5435600" y="2060575"/>
            <a:ext cx="1439863" cy="503238"/>
          </a:xfrm>
          <a:prstGeom prst="curvedDownArrow">
            <a:avLst>
              <a:gd name="adj1" fmla="val 57038"/>
              <a:gd name="adj2" fmla="val 114448"/>
              <a:gd name="adj3" fmla="val 33333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E"/>
          </a:p>
        </p:txBody>
      </p:sp>
      <p:sp>
        <p:nvSpPr>
          <p:cNvPr id="245769" name="AutoShape 9"/>
          <p:cNvSpPr>
            <a:spLocks noChangeArrowheads="1"/>
          </p:cNvSpPr>
          <p:nvPr/>
        </p:nvSpPr>
        <p:spPr bwMode="auto">
          <a:xfrm>
            <a:off x="2987675" y="2133600"/>
            <a:ext cx="1439863" cy="503238"/>
          </a:xfrm>
          <a:prstGeom prst="curvedDownArrow">
            <a:avLst>
              <a:gd name="adj1" fmla="val 57224"/>
              <a:gd name="adj2" fmla="val 114448"/>
              <a:gd name="adj3" fmla="val 33333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E"/>
          </a:p>
        </p:txBody>
      </p:sp>
      <p:pic>
        <p:nvPicPr>
          <p:cNvPr id="245770" name="Picture 10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470400"/>
            <a:ext cx="1868488" cy="1046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771" name="Picture 11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4050" y="4325938"/>
            <a:ext cx="2125663" cy="1190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772" name="Picture 12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49713" y="4325938"/>
            <a:ext cx="2147887" cy="1203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773" name="Picture 13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76988" y="4325938"/>
            <a:ext cx="2147887" cy="1203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99057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457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457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 nodeType="withGroup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57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457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 nodeType="withGroup">
                            <p:stCondLst>
                              <p:cond delay="1500"/>
                            </p:stCondLst>
                            <p:childTnLst>
                              <p:par>
                                <p:cTn id="15" presetID="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2457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000" fill="hold"/>
                                        <p:tgtEl>
                                          <p:spTgt spid="2457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withGroup">
                            <p:stCondLst>
                              <p:cond delay="3000"/>
                            </p:stCondLst>
                            <p:childTnLst>
                              <p:par>
                                <p:cTn id="2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000" fill="hold"/>
                                        <p:tgtEl>
                                          <p:spTgt spid="2457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2457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2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2457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 nodeType="afterGroup">
                            <p:stCondLst>
                              <p:cond delay="4500"/>
                            </p:stCondLst>
                            <p:childTnLst>
                              <p:par>
                                <p:cTn id="29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2457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 nodeType="afterGroup">
                            <p:stCondLst>
                              <p:cond delay="5000"/>
                            </p:stCondLst>
                            <p:childTnLst>
                              <p:par>
                                <p:cTn id="33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5" dur="500"/>
                                        <p:tgtEl>
                                          <p:spTgt spid="2457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 nodeType="clickPar">
                      <p:stCondLst>
                        <p:cond delay="indefinite"/>
                      </p:stCondLst>
                      <p:childTnLst>
                        <p:par>
                          <p:cTn id="3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8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2000" fill="hold"/>
                                        <p:tgtEl>
                                          <p:spTgt spid="2457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2000" fill="hold"/>
                                        <p:tgtEl>
                                          <p:spTgt spid="2457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2000" fill="hold"/>
                                        <p:tgtEl>
                                          <p:spTgt spid="2457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2000" fill="hold"/>
                                        <p:tgtEl>
                                          <p:spTgt spid="2457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2000" fill="hold"/>
                                        <p:tgtEl>
                                          <p:spTgt spid="2457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2000" fill="hold"/>
                                        <p:tgtEl>
                                          <p:spTgt spid="2457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2000" fill="hold"/>
                                        <p:tgtEl>
                                          <p:spTgt spid="2457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2000" fill="hold"/>
                                        <p:tgtEl>
                                          <p:spTgt spid="2457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5767" grpId="0" animBg="1"/>
      <p:bldP spid="245768" grpId="0" animBg="1"/>
      <p:bldP spid="245769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title"/>
          </p:nvPr>
        </p:nvSpPr>
        <p:spPr>
          <a:xfrm>
            <a:off x="827088" y="333375"/>
            <a:ext cx="6877050" cy="936625"/>
          </a:xfrm>
        </p:spPr>
        <p:txBody>
          <a:bodyPr/>
          <a:lstStyle/>
          <a:p>
            <a:pPr eaLnBrk="1" hangingPunct="1"/>
            <a:r>
              <a:rPr lang="en-IE" sz="4000" b="1" smtClean="0">
                <a:solidFill>
                  <a:srgbClr val="091D67"/>
                </a:solidFill>
              </a:rPr>
              <a:t>Redesign the Supply Chain</a:t>
            </a:r>
            <a:endParaRPr lang="en-GB" sz="4000" b="1" smtClean="0">
              <a:solidFill>
                <a:srgbClr val="091D67"/>
              </a:solidFill>
            </a:endParaRPr>
          </a:p>
        </p:txBody>
      </p:sp>
      <p:grpSp>
        <p:nvGrpSpPr>
          <p:cNvPr id="27651" name="Group 3"/>
          <p:cNvGrpSpPr>
            <a:grpSpLocks/>
          </p:cNvGrpSpPr>
          <p:nvPr/>
        </p:nvGrpSpPr>
        <p:grpSpPr bwMode="auto">
          <a:xfrm>
            <a:off x="2098675" y="1600200"/>
            <a:ext cx="1833563" cy="1508125"/>
            <a:chOff x="2428" y="893"/>
            <a:chExt cx="1155" cy="950"/>
          </a:xfrm>
        </p:grpSpPr>
        <p:sp>
          <p:nvSpPr>
            <p:cNvPr id="27669" name="Freeform 4"/>
            <p:cNvSpPr>
              <a:spLocks/>
            </p:cNvSpPr>
            <p:nvPr/>
          </p:nvSpPr>
          <p:spPr bwMode="auto">
            <a:xfrm>
              <a:off x="2428" y="893"/>
              <a:ext cx="1122" cy="950"/>
            </a:xfrm>
            <a:custGeom>
              <a:avLst/>
              <a:gdLst>
                <a:gd name="T0" fmla="*/ 44 w 1636"/>
                <a:gd name="T1" fmla="*/ 200 h 1386"/>
                <a:gd name="T2" fmla="*/ 47 w 1636"/>
                <a:gd name="T3" fmla="*/ 192 h 1386"/>
                <a:gd name="T4" fmla="*/ 47 w 1636"/>
                <a:gd name="T5" fmla="*/ 184 h 1386"/>
                <a:gd name="T6" fmla="*/ 51 w 1636"/>
                <a:gd name="T7" fmla="*/ 177 h 1386"/>
                <a:gd name="T8" fmla="*/ 58 w 1636"/>
                <a:gd name="T9" fmla="*/ 173 h 1386"/>
                <a:gd name="T10" fmla="*/ 67 w 1636"/>
                <a:gd name="T11" fmla="*/ 175 h 1386"/>
                <a:gd name="T12" fmla="*/ 83 w 1636"/>
                <a:gd name="T13" fmla="*/ 190 h 1386"/>
                <a:gd name="T14" fmla="*/ 90 w 1636"/>
                <a:gd name="T15" fmla="*/ 204 h 1386"/>
                <a:gd name="T16" fmla="*/ 92 w 1636"/>
                <a:gd name="T17" fmla="*/ 217 h 1386"/>
                <a:gd name="T18" fmla="*/ 89 w 1636"/>
                <a:gd name="T19" fmla="*/ 228 h 1386"/>
                <a:gd name="T20" fmla="*/ 84 w 1636"/>
                <a:gd name="T21" fmla="*/ 232 h 1386"/>
                <a:gd name="T22" fmla="*/ 77 w 1636"/>
                <a:gd name="T23" fmla="*/ 234 h 1386"/>
                <a:gd name="T24" fmla="*/ 63 w 1636"/>
                <a:gd name="T25" fmla="*/ 227 h 1386"/>
                <a:gd name="T26" fmla="*/ 55 w 1636"/>
                <a:gd name="T27" fmla="*/ 229 h 1386"/>
                <a:gd name="T28" fmla="*/ 52 w 1636"/>
                <a:gd name="T29" fmla="*/ 234 h 1386"/>
                <a:gd name="T30" fmla="*/ 53 w 1636"/>
                <a:gd name="T31" fmla="*/ 243 h 1386"/>
                <a:gd name="T32" fmla="*/ 88 w 1636"/>
                <a:gd name="T33" fmla="*/ 305 h 1386"/>
                <a:gd name="T34" fmla="*/ 147 w 1636"/>
                <a:gd name="T35" fmla="*/ 306 h 1386"/>
                <a:gd name="T36" fmla="*/ 161 w 1636"/>
                <a:gd name="T37" fmla="*/ 300 h 1386"/>
                <a:gd name="T38" fmla="*/ 163 w 1636"/>
                <a:gd name="T39" fmla="*/ 293 h 1386"/>
                <a:gd name="T40" fmla="*/ 157 w 1636"/>
                <a:gd name="T41" fmla="*/ 284 h 1386"/>
                <a:gd name="T42" fmla="*/ 146 w 1636"/>
                <a:gd name="T43" fmla="*/ 277 h 1386"/>
                <a:gd name="T44" fmla="*/ 145 w 1636"/>
                <a:gd name="T45" fmla="*/ 271 h 1386"/>
                <a:gd name="T46" fmla="*/ 148 w 1636"/>
                <a:gd name="T47" fmla="*/ 262 h 1386"/>
                <a:gd name="T48" fmla="*/ 162 w 1636"/>
                <a:gd name="T49" fmla="*/ 255 h 1386"/>
                <a:gd name="T50" fmla="*/ 176 w 1636"/>
                <a:gd name="T51" fmla="*/ 252 h 1386"/>
                <a:gd name="T52" fmla="*/ 197 w 1636"/>
                <a:gd name="T53" fmla="*/ 256 h 1386"/>
                <a:gd name="T54" fmla="*/ 207 w 1636"/>
                <a:gd name="T55" fmla="*/ 265 h 1386"/>
                <a:gd name="T56" fmla="*/ 208 w 1636"/>
                <a:gd name="T57" fmla="*/ 271 h 1386"/>
                <a:gd name="T58" fmla="*/ 206 w 1636"/>
                <a:gd name="T59" fmla="*/ 279 h 1386"/>
                <a:gd name="T60" fmla="*/ 193 w 1636"/>
                <a:gd name="T61" fmla="*/ 287 h 1386"/>
                <a:gd name="T62" fmla="*/ 191 w 1636"/>
                <a:gd name="T63" fmla="*/ 295 h 1386"/>
                <a:gd name="T64" fmla="*/ 194 w 1636"/>
                <a:gd name="T65" fmla="*/ 301 h 1386"/>
                <a:gd name="T66" fmla="*/ 264 w 1636"/>
                <a:gd name="T67" fmla="*/ 306 h 1386"/>
                <a:gd name="T68" fmla="*/ 265 w 1636"/>
                <a:gd name="T69" fmla="*/ 304 h 1386"/>
                <a:gd name="T70" fmla="*/ 296 w 1636"/>
                <a:gd name="T71" fmla="*/ 252 h 1386"/>
                <a:gd name="T72" fmla="*/ 309 w 1636"/>
                <a:gd name="T73" fmla="*/ 244 h 1386"/>
                <a:gd name="T74" fmla="*/ 314 w 1636"/>
                <a:gd name="T75" fmla="*/ 246 h 1386"/>
                <a:gd name="T76" fmla="*/ 318 w 1636"/>
                <a:gd name="T77" fmla="*/ 254 h 1386"/>
                <a:gd name="T78" fmla="*/ 320 w 1636"/>
                <a:gd name="T79" fmla="*/ 267 h 1386"/>
                <a:gd name="T80" fmla="*/ 324 w 1636"/>
                <a:gd name="T81" fmla="*/ 271 h 1386"/>
                <a:gd name="T82" fmla="*/ 333 w 1636"/>
                <a:gd name="T83" fmla="*/ 273 h 1386"/>
                <a:gd name="T84" fmla="*/ 346 w 1636"/>
                <a:gd name="T85" fmla="*/ 265 h 1386"/>
                <a:gd name="T86" fmla="*/ 356 w 1636"/>
                <a:gd name="T87" fmla="*/ 254 h 1386"/>
                <a:gd name="T88" fmla="*/ 361 w 1636"/>
                <a:gd name="T89" fmla="*/ 241 h 1386"/>
                <a:gd name="T90" fmla="*/ 361 w 1636"/>
                <a:gd name="T91" fmla="*/ 226 h 1386"/>
                <a:gd name="T92" fmla="*/ 355 w 1636"/>
                <a:gd name="T93" fmla="*/ 219 h 1386"/>
                <a:gd name="T94" fmla="*/ 348 w 1636"/>
                <a:gd name="T95" fmla="*/ 217 h 1386"/>
                <a:gd name="T96" fmla="*/ 335 w 1636"/>
                <a:gd name="T97" fmla="*/ 223 h 1386"/>
                <a:gd name="T98" fmla="*/ 326 w 1636"/>
                <a:gd name="T99" fmla="*/ 222 h 1386"/>
                <a:gd name="T100" fmla="*/ 322 w 1636"/>
                <a:gd name="T101" fmla="*/ 217 h 1386"/>
                <a:gd name="T102" fmla="*/ 324 w 1636"/>
                <a:gd name="T103" fmla="*/ 204 h 1386"/>
                <a:gd name="T104" fmla="*/ 350 w 1636"/>
                <a:gd name="T105" fmla="*/ 147 h 1386"/>
                <a:gd name="T106" fmla="*/ 71 w 1636"/>
                <a:gd name="T107" fmla="*/ 29 h 1386"/>
                <a:gd name="T108" fmla="*/ 29 w 1636"/>
                <a:gd name="T109" fmla="*/ 199 h 1386"/>
                <a:gd name="T110" fmla="*/ 39 w 1636"/>
                <a:gd name="T111" fmla="*/ 204 h 138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36" h="1386">
                  <a:moveTo>
                    <a:pt x="184" y="918"/>
                  </a:moveTo>
                  <a:lnTo>
                    <a:pt x="184" y="918"/>
                  </a:lnTo>
                  <a:lnTo>
                    <a:pt x="192" y="912"/>
                  </a:lnTo>
                  <a:lnTo>
                    <a:pt x="198" y="906"/>
                  </a:lnTo>
                  <a:lnTo>
                    <a:pt x="204" y="900"/>
                  </a:lnTo>
                  <a:lnTo>
                    <a:pt x="208" y="894"/>
                  </a:lnTo>
                  <a:lnTo>
                    <a:pt x="212" y="882"/>
                  </a:lnTo>
                  <a:lnTo>
                    <a:pt x="214" y="868"/>
                  </a:lnTo>
                  <a:lnTo>
                    <a:pt x="212" y="850"/>
                  </a:lnTo>
                  <a:lnTo>
                    <a:pt x="214" y="834"/>
                  </a:lnTo>
                  <a:lnTo>
                    <a:pt x="216" y="820"/>
                  </a:lnTo>
                  <a:lnTo>
                    <a:pt x="220" y="812"/>
                  </a:lnTo>
                  <a:lnTo>
                    <a:pt x="224" y="806"/>
                  </a:lnTo>
                  <a:lnTo>
                    <a:pt x="232" y="800"/>
                  </a:lnTo>
                  <a:lnTo>
                    <a:pt x="240" y="794"/>
                  </a:lnTo>
                  <a:lnTo>
                    <a:pt x="250" y="788"/>
                  </a:lnTo>
                  <a:lnTo>
                    <a:pt x="260" y="786"/>
                  </a:lnTo>
                  <a:lnTo>
                    <a:pt x="270" y="786"/>
                  </a:lnTo>
                  <a:lnTo>
                    <a:pt x="282" y="786"/>
                  </a:lnTo>
                  <a:lnTo>
                    <a:pt x="292" y="790"/>
                  </a:lnTo>
                  <a:lnTo>
                    <a:pt x="302" y="794"/>
                  </a:lnTo>
                  <a:lnTo>
                    <a:pt x="324" y="808"/>
                  </a:lnTo>
                  <a:lnTo>
                    <a:pt x="344" y="824"/>
                  </a:lnTo>
                  <a:lnTo>
                    <a:pt x="360" y="842"/>
                  </a:lnTo>
                  <a:lnTo>
                    <a:pt x="374" y="860"/>
                  </a:lnTo>
                  <a:lnTo>
                    <a:pt x="384" y="876"/>
                  </a:lnTo>
                  <a:lnTo>
                    <a:pt x="396" y="898"/>
                  </a:lnTo>
                  <a:lnTo>
                    <a:pt x="406" y="924"/>
                  </a:lnTo>
                  <a:lnTo>
                    <a:pt x="412" y="954"/>
                  </a:lnTo>
                  <a:lnTo>
                    <a:pt x="414" y="968"/>
                  </a:lnTo>
                  <a:lnTo>
                    <a:pt x="414" y="982"/>
                  </a:lnTo>
                  <a:lnTo>
                    <a:pt x="414" y="1004"/>
                  </a:lnTo>
                  <a:lnTo>
                    <a:pt x="412" y="1014"/>
                  </a:lnTo>
                  <a:lnTo>
                    <a:pt x="408" y="1022"/>
                  </a:lnTo>
                  <a:lnTo>
                    <a:pt x="404" y="1032"/>
                  </a:lnTo>
                  <a:lnTo>
                    <a:pt x="398" y="1038"/>
                  </a:lnTo>
                  <a:lnTo>
                    <a:pt x="392" y="1046"/>
                  </a:lnTo>
                  <a:lnTo>
                    <a:pt x="384" y="1050"/>
                  </a:lnTo>
                  <a:lnTo>
                    <a:pt x="374" y="1056"/>
                  </a:lnTo>
                  <a:lnTo>
                    <a:pt x="364" y="1058"/>
                  </a:lnTo>
                  <a:lnTo>
                    <a:pt x="354" y="1058"/>
                  </a:lnTo>
                  <a:lnTo>
                    <a:pt x="346" y="1058"/>
                  </a:lnTo>
                  <a:lnTo>
                    <a:pt x="330" y="1052"/>
                  </a:lnTo>
                  <a:lnTo>
                    <a:pt x="316" y="1042"/>
                  </a:lnTo>
                  <a:lnTo>
                    <a:pt x="302" y="1034"/>
                  </a:lnTo>
                  <a:lnTo>
                    <a:pt x="286" y="1028"/>
                  </a:lnTo>
                  <a:lnTo>
                    <a:pt x="278" y="1028"/>
                  </a:lnTo>
                  <a:lnTo>
                    <a:pt x="268" y="1028"/>
                  </a:lnTo>
                  <a:lnTo>
                    <a:pt x="258" y="1032"/>
                  </a:lnTo>
                  <a:lnTo>
                    <a:pt x="248" y="1036"/>
                  </a:lnTo>
                  <a:lnTo>
                    <a:pt x="242" y="1042"/>
                  </a:lnTo>
                  <a:lnTo>
                    <a:pt x="238" y="1048"/>
                  </a:lnTo>
                  <a:lnTo>
                    <a:pt x="236" y="1058"/>
                  </a:lnTo>
                  <a:lnTo>
                    <a:pt x="234" y="1068"/>
                  </a:lnTo>
                  <a:lnTo>
                    <a:pt x="236" y="1086"/>
                  </a:lnTo>
                  <a:lnTo>
                    <a:pt x="240" y="1102"/>
                  </a:lnTo>
                  <a:lnTo>
                    <a:pt x="398" y="1378"/>
                  </a:lnTo>
                  <a:lnTo>
                    <a:pt x="402" y="1378"/>
                  </a:lnTo>
                  <a:lnTo>
                    <a:pt x="402" y="1380"/>
                  </a:lnTo>
                  <a:lnTo>
                    <a:pt x="400" y="1382"/>
                  </a:lnTo>
                  <a:lnTo>
                    <a:pt x="402" y="1386"/>
                  </a:lnTo>
                  <a:lnTo>
                    <a:pt x="664" y="1386"/>
                  </a:lnTo>
                  <a:lnTo>
                    <a:pt x="686" y="1380"/>
                  </a:lnTo>
                  <a:lnTo>
                    <a:pt x="708" y="1368"/>
                  </a:lnTo>
                  <a:lnTo>
                    <a:pt x="718" y="1362"/>
                  </a:lnTo>
                  <a:lnTo>
                    <a:pt x="726" y="1356"/>
                  </a:lnTo>
                  <a:lnTo>
                    <a:pt x="732" y="1346"/>
                  </a:lnTo>
                  <a:lnTo>
                    <a:pt x="734" y="1338"/>
                  </a:lnTo>
                  <a:lnTo>
                    <a:pt x="734" y="1326"/>
                  </a:lnTo>
                  <a:lnTo>
                    <a:pt x="730" y="1316"/>
                  </a:lnTo>
                  <a:lnTo>
                    <a:pt x="728" y="1308"/>
                  </a:lnTo>
                  <a:lnTo>
                    <a:pt x="722" y="1302"/>
                  </a:lnTo>
                  <a:lnTo>
                    <a:pt x="710" y="1290"/>
                  </a:lnTo>
                  <a:lnTo>
                    <a:pt x="694" y="1282"/>
                  </a:lnTo>
                  <a:lnTo>
                    <a:pt x="680" y="1274"/>
                  </a:lnTo>
                  <a:lnTo>
                    <a:pt x="668" y="1264"/>
                  </a:lnTo>
                  <a:lnTo>
                    <a:pt x="662" y="1256"/>
                  </a:lnTo>
                  <a:lnTo>
                    <a:pt x="658" y="1248"/>
                  </a:lnTo>
                  <a:lnTo>
                    <a:pt x="656" y="1240"/>
                  </a:lnTo>
                  <a:lnTo>
                    <a:pt x="654" y="1228"/>
                  </a:lnTo>
                  <a:lnTo>
                    <a:pt x="656" y="1216"/>
                  </a:lnTo>
                  <a:lnTo>
                    <a:pt x="658" y="1206"/>
                  </a:lnTo>
                  <a:lnTo>
                    <a:pt x="664" y="1198"/>
                  </a:lnTo>
                  <a:lnTo>
                    <a:pt x="670" y="1188"/>
                  </a:lnTo>
                  <a:lnTo>
                    <a:pt x="678" y="1180"/>
                  </a:lnTo>
                  <a:lnTo>
                    <a:pt x="688" y="1174"/>
                  </a:lnTo>
                  <a:lnTo>
                    <a:pt x="708" y="1162"/>
                  </a:lnTo>
                  <a:lnTo>
                    <a:pt x="732" y="1154"/>
                  </a:lnTo>
                  <a:lnTo>
                    <a:pt x="756" y="1148"/>
                  </a:lnTo>
                  <a:lnTo>
                    <a:pt x="780" y="1144"/>
                  </a:lnTo>
                  <a:lnTo>
                    <a:pt x="798" y="1144"/>
                  </a:lnTo>
                  <a:lnTo>
                    <a:pt x="818" y="1144"/>
                  </a:lnTo>
                  <a:lnTo>
                    <a:pt x="840" y="1148"/>
                  </a:lnTo>
                  <a:lnTo>
                    <a:pt x="864" y="1154"/>
                  </a:lnTo>
                  <a:lnTo>
                    <a:pt x="888" y="1162"/>
                  </a:lnTo>
                  <a:lnTo>
                    <a:pt x="910" y="1174"/>
                  </a:lnTo>
                  <a:lnTo>
                    <a:pt x="918" y="1180"/>
                  </a:lnTo>
                  <a:lnTo>
                    <a:pt x="926" y="1188"/>
                  </a:lnTo>
                  <a:lnTo>
                    <a:pt x="934" y="1198"/>
                  </a:lnTo>
                  <a:lnTo>
                    <a:pt x="938" y="1206"/>
                  </a:lnTo>
                  <a:lnTo>
                    <a:pt x="942" y="1216"/>
                  </a:lnTo>
                  <a:lnTo>
                    <a:pt x="942" y="1228"/>
                  </a:lnTo>
                  <a:lnTo>
                    <a:pt x="942" y="1240"/>
                  </a:lnTo>
                  <a:lnTo>
                    <a:pt x="938" y="1248"/>
                  </a:lnTo>
                  <a:lnTo>
                    <a:pt x="934" y="1256"/>
                  </a:lnTo>
                  <a:lnTo>
                    <a:pt x="930" y="1264"/>
                  </a:lnTo>
                  <a:lnTo>
                    <a:pt x="916" y="1274"/>
                  </a:lnTo>
                  <a:lnTo>
                    <a:pt x="902" y="1282"/>
                  </a:lnTo>
                  <a:lnTo>
                    <a:pt x="888" y="1290"/>
                  </a:lnTo>
                  <a:lnTo>
                    <a:pt x="874" y="1302"/>
                  </a:lnTo>
                  <a:lnTo>
                    <a:pt x="870" y="1308"/>
                  </a:lnTo>
                  <a:lnTo>
                    <a:pt x="866" y="1316"/>
                  </a:lnTo>
                  <a:lnTo>
                    <a:pt x="864" y="1326"/>
                  </a:lnTo>
                  <a:lnTo>
                    <a:pt x="862" y="1338"/>
                  </a:lnTo>
                  <a:lnTo>
                    <a:pt x="864" y="1346"/>
                  </a:lnTo>
                  <a:lnTo>
                    <a:pt x="870" y="1356"/>
                  </a:lnTo>
                  <a:lnTo>
                    <a:pt x="878" y="1362"/>
                  </a:lnTo>
                  <a:lnTo>
                    <a:pt x="888" y="1368"/>
                  </a:lnTo>
                  <a:lnTo>
                    <a:pt x="912" y="1380"/>
                  </a:lnTo>
                  <a:lnTo>
                    <a:pt x="934" y="1386"/>
                  </a:lnTo>
                  <a:lnTo>
                    <a:pt x="1194" y="1386"/>
                  </a:lnTo>
                  <a:lnTo>
                    <a:pt x="1198" y="1380"/>
                  </a:lnTo>
                  <a:lnTo>
                    <a:pt x="1198" y="1378"/>
                  </a:lnTo>
                  <a:lnTo>
                    <a:pt x="1202" y="1378"/>
                  </a:lnTo>
                  <a:lnTo>
                    <a:pt x="1204" y="1372"/>
                  </a:lnTo>
                  <a:lnTo>
                    <a:pt x="1240" y="1310"/>
                  </a:lnTo>
                  <a:lnTo>
                    <a:pt x="1340" y="1138"/>
                  </a:lnTo>
                  <a:lnTo>
                    <a:pt x="1356" y="1124"/>
                  </a:lnTo>
                  <a:lnTo>
                    <a:pt x="1376" y="1112"/>
                  </a:lnTo>
                  <a:lnTo>
                    <a:pt x="1384" y="1108"/>
                  </a:lnTo>
                  <a:lnTo>
                    <a:pt x="1394" y="1104"/>
                  </a:lnTo>
                  <a:lnTo>
                    <a:pt x="1402" y="1104"/>
                  </a:lnTo>
                  <a:lnTo>
                    <a:pt x="1410" y="1108"/>
                  </a:lnTo>
                  <a:lnTo>
                    <a:pt x="1420" y="1114"/>
                  </a:lnTo>
                  <a:lnTo>
                    <a:pt x="1426" y="1122"/>
                  </a:lnTo>
                  <a:lnTo>
                    <a:pt x="1432" y="1128"/>
                  </a:lnTo>
                  <a:lnTo>
                    <a:pt x="1436" y="1136"/>
                  </a:lnTo>
                  <a:lnTo>
                    <a:pt x="1438" y="1152"/>
                  </a:lnTo>
                  <a:lnTo>
                    <a:pt x="1438" y="1170"/>
                  </a:lnTo>
                  <a:lnTo>
                    <a:pt x="1438" y="1186"/>
                  </a:lnTo>
                  <a:lnTo>
                    <a:pt x="1440" y="1202"/>
                  </a:lnTo>
                  <a:lnTo>
                    <a:pt x="1444" y="1210"/>
                  </a:lnTo>
                  <a:lnTo>
                    <a:pt x="1448" y="1218"/>
                  </a:lnTo>
                  <a:lnTo>
                    <a:pt x="1456" y="1226"/>
                  </a:lnTo>
                  <a:lnTo>
                    <a:pt x="1466" y="1232"/>
                  </a:lnTo>
                  <a:lnTo>
                    <a:pt x="1476" y="1236"/>
                  </a:lnTo>
                  <a:lnTo>
                    <a:pt x="1486" y="1240"/>
                  </a:lnTo>
                  <a:lnTo>
                    <a:pt x="1496" y="1240"/>
                  </a:lnTo>
                  <a:lnTo>
                    <a:pt x="1506" y="1238"/>
                  </a:lnTo>
                  <a:lnTo>
                    <a:pt x="1518" y="1234"/>
                  </a:lnTo>
                  <a:lnTo>
                    <a:pt x="1528" y="1230"/>
                  </a:lnTo>
                  <a:lnTo>
                    <a:pt x="1550" y="1218"/>
                  </a:lnTo>
                  <a:lnTo>
                    <a:pt x="1568" y="1202"/>
                  </a:lnTo>
                  <a:lnTo>
                    <a:pt x="1586" y="1184"/>
                  </a:lnTo>
                  <a:lnTo>
                    <a:pt x="1600" y="1166"/>
                  </a:lnTo>
                  <a:lnTo>
                    <a:pt x="1610" y="1150"/>
                  </a:lnTo>
                  <a:lnTo>
                    <a:pt x="1618" y="1132"/>
                  </a:lnTo>
                  <a:lnTo>
                    <a:pt x="1628" y="1112"/>
                  </a:lnTo>
                  <a:lnTo>
                    <a:pt x="1632" y="1094"/>
                  </a:lnTo>
                  <a:lnTo>
                    <a:pt x="1636" y="1076"/>
                  </a:lnTo>
                  <a:lnTo>
                    <a:pt x="1636" y="1060"/>
                  </a:lnTo>
                  <a:lnTo>
                    <a:pt x="1636" y="1042"/>
                  </a:lnTo>
                  <a:lnTo>
                    <a:pt x="1634" y="1026"/>
                  </a:lnTo>
                  <a:lnTo>
                    <a:pt x="1628" y="1012"/>
                  </a:lnTo>
                  <a:lnTo>
                    <a:pt x="1618" y="1000"/>
                  </a:lnTo>
                  <a:lnTo>
                    <a:pt x="1606" y="990"/>
                  </a:lnTo>
                  <a:lnTo>
                    <a:pt x="1596" y="986"/>
                  </a:lnTo>
                  <a:lnTo>
                    <a:pt x="1586" y="984"/>
                  </a:lnTo>
                  <a:lnTo>
                    <a:pt x="1578" y="982"/>
                  </a:lnTo>
                  <a:lnTo>
                    <a:pt x="1570" y="984"/>
                  </a:lnTo>
                  <a:lnTo>
                    <a:pt x="1554" y="990"/>
                  </a:lnTo>
                  <a:lnTo>
                    <a:pt x="1540" y="998"/>
                  </a:lnTo>
                  <a:lnTo>
                    <a:pt x="1524" y="1006"/>
                  </a:lnTo>
                  <a:lnTo>
                    <a:pt x="1510" y="1012"/>
                  </a:lnTo>
                  <a:lnTo>
                    <a:pt x="1500" y="1014"/>
                  </a:lnTo>
                  <a:lnTo>
                    <a:pt x="1492" y="1012"/>
                  </a:lnTo>
                  <a:lnTo>
                    <a:pt x="1482" y="1010"/>
                  </a:lnTo>
                  <a:lnTo>
                    <a:pt x="1472" y="1004"/>
                  </a:lnTo>
                  <a:lnTo>
                    <a:pt x="1464" y="1000"/>
                  </a:lnTo>
                  <a:lnTo>
                    <a:pt x="1460" y="992"/>
                  </a:lnTo>
                  <a:lnTo>
                    <a:pt x="1458" y="982"/>
                  </a:lnTo>
                  <a:lnTo>
                    <a:pt x="1458" y="972"/>
                  </a:lnTo>
                  <a:lnTo>
                    <a:pt x="1458" y="950"/>
                  </a:lnTo>
                  <a:lnTo>
                    <a:pt x="1462" y="928"/>
                  </a:lnTo>
                  <a:lnTo>
                    <a:pt x="1464" y="926"/>
                  </a:lnTo>
                  <a:lnTo>
                    <a:pt x="1466" y="920"/>
                  </a:lnTo>
                  <a:lnTo>
                    <a:pt x="1598" y="692"/>
                  </a:lnTo>
                  <a:lnTo>
                    <a:pt x="1582" y="668"/>
                  </a:lnTo>
                  <a:lnTo>
                    <a:pt x="1584" y="668"/>
                  </a:lnTo>
                  <a:lnTo>
                    <a:pt x="1198" y="0"/>
                  </a:lnTo>
                  <a:lnTo>
                    <a:pt x="398" y="0"/>
                  </a:lnTo>
                  <a:lnTo>
                    <a:pt x="322" y="132"/>
                  </a:lnTo>
                  <a:lnTo>
                    <a:pt x="0" y="690"/>
                  </a:lnTo>
                  <a:lnTo>
                    <a:pt x="116" y="888"/>
                  </a:lnTo>
                  <a:lnTo>
                    <a:pt x="132" y="902"/>
                  </a:lnTo>
                  <a:lnTo>
                    <a:pt x="150" y="914"/>
                  </a:lnTo>
                  <a:lnTo>
                    <a:pt x="160" y="918"/>
                  </a:lnTo>
                  <a:lnTo>
                    <a:pt x="168" y="920"/>
                  </a:lnTo>
                  <a:lnTo>
                    <a:pt x="176" y="920"/>
                  </a:lnTo>
                  <a:lnTo>
                    <a:pt x="184" y="918"/>
                  </a:lnTo>
                  <a:close/>
                </a:path>
              </a:pathLst>
            </a:custGeom>
            <a:solidFill>
              <a:srgbClr val="438DEF"/>
            </a:solidFill>
            <a:ln w="38100" cap="flat" cmpd="sng">
              <a:solidFill>
                <a:srgbClr val="5F5F5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E"/>
            </a:p>
          </p:txBody>
        </p:sp>
        <p:sp>
          <p:nvSpPr>
            <p:cNvPr id="27670" name="Text Box 5"/>
            <p:cNvSpPr txBox="1">
              <a:spLocks noChangeArrowheads="1"/>
            </p:cNvSpPr>
            <p:nvPr/>
          </p:nvSpPr>
          <p:spPr bwMode="auto">
            <a:xfrm>
              <a:off x="2428" y="1221"/>
              <a:ext cx="1155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5F5F5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IE" b="1">
                  <a:solidFill>
                    <a:srgbClr val="000000"/>
                  </a:solidFill>
                  <a:cs typeface="Arial" charset="0"/>
                </a:rPr>
                <a:t>Manufacturer</a:t>
              </a:r>
              <a:endParaRPr lang="en-GB" b="1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27652" name="Group 6"/>
          <p:cNvGrpSpPr>
            <a:grpSpLocks/>
          </p:cNvGrpSpPr>
          <p:nvPr/>
        </p:nvGrpSpPr>
        <p:grpSpPr bwMode="auto">
          <a:xfrm>
            <a:off x="250825" y="1628775"/>
            <a:ext cx="1754188" cy="1508125"/>
            <a:chOff x="1305" y="1479"/>
            <a:chExt cx="1105" cy="950"/>
          </a:xfrm>
        </p:grpSpPr>
        <p:sp>
          <p:nvSpPr>
            <p:cNvPr id="27667" name="Freeform 7"/>
            <p:cNvSpPr>
              <a:spLocks/>
            </p:cNvSpPr>
            <p:nvPr/>
          </p:nvSpPr>
          <p:spPr bwMode="auto">
            <a:xfrm>
              <a:off x="1305" y="1479"/>
              <a:ext cx="1105" cy="950"/>
            </a:xfrm>
            <a:custGeom>
              <a:avLst/>
              <a:gdLst>
                <a:gd name="T0" fmla="*/ 153 w 1612"/>
                <a:gd name="T1" fmla="*/ 305 h 1386"/>
                <a:gd name="T2" fmla="*/ 157 w 1612"/>
                <a:gd name="T3" fmla="*/ 304 h 1386"/>
                <a:gd name="T4" fmla="*/ 158 w 1612"/>
                <a:gd name="T5" fmla="*/ 304 h 1386"/>
                <a:gd name="T6" fmla="*/ 159 w 1612"/>
                <a:gd name="T7" fmla="*/ 302 h 1386"/>
                <a:gd name="T8" fmla="*/ 160 w 1612"/>
                <a:gd name="T9" fmla="*/ 302 h 1386"/>
                <a:gd name="T10" fmla="*/ 161 w 1612"/>
                <a:gd name="T11" fmla="*/ 301 h 1386"/>
                <a:gd name="T12" fmla="*/ 162 w 1612"/>
                <a:gd name="T13" fmla="*/ 300 h 1386"/>
                <a:gd name="T14" fmla="*/ 162 w 1612"/>
                <a:gd name="T15" fmla="*/ 299 h 1386"/>
                <a:gd name="T16" fmla="*/ 163 w 1612"/>
                <a:gd name="T17" fmla="*/ 298 h 1386"/>
                <a:gd name="T18" fmla="*/ 164 w 1612"/>
                <a:gd name="T19" fmla="*/ 297 h 1386"/>
                <a:gd name="T20" fmla="*/ 164 w 1612"/>
                <a:gd name="T21" fmla="*/ 297 h 1386"/>
                <a:gd name="T22" fmla="*/ 158 w 1612"/>
                <a:gd name="T23" fmla="*/ 286 h 1386"/>
                <a:gd name="T24" fmla="*/ 147 w 1612"/>
                <a:gd name="T25" fmla="*/ 277 h 1386"/>
                <a:gd name="T26" fmla="*/ 145 w 1612"/>
                <a:gd name="T27" fmla="*/ 271 h 1386"/>
                <a:gd name="T28" fmla="*/ 149 w 1612"/>
                <a:gd name="T29" fmla="*/ 264 h 1386"/>
                <a:gd name="T30" fmla="*/ 168 w 1612"/>
                <a:gd name="T31" fmla="*/ 254 h 1386"/>
                <a:gd name="T32" fmla="*/ 187 w 1612"/>
                <a:gd name="T33" fmla="*/ 254 h 1386"/>
                <a:gd name="T34" fmla="*/ 206 w 1612"/>
                <a:gd name="T35" fmla="*/ 264 h 1386"/>
                <a:gd name="T36" fmla="*/ 210 w 1612"/>
                <a:gd name="T37" fmla="*/ 271 h 1386"/>
                <a:gd name="T38" fmla="*/ 208 w 1612"/>
                <a:gd name="T39" fmla="*/ 277 h 1386"/>
                <a:gd name="T40" fmla="*/ 197 w 1612"/>
                <a:gd name="T41" fmla="*/ 286 h 1386"/>
                <a:gd name="T42" fmla="*/ 192 w 1612"/>
                <a:gd name="T43" fmla="*/ 297 h 1386"/>
                <a:gd name="T44" fmla="*/ 192 w 1612"/>
                <a:gd name="T45" fmla="*/ 297 h 1386"/>
                <a:gd name="T46" fmla="*/ 192 w 1612"/>
                <a:gd name="T47" fmla="*/ 298 h 1386"/>
                <a:gd name="T48" fmla="*/ 193 w 1612"/>
                <a:gd name="T49" fmla="*/ 299 h 1386"/>
                <a:gd name="T50" fmla="*/ 193 w 1612"/>
                <a:gd name="T51" fmla="*/ 300 h 1386"/>
                <a:gd name="T52" fmla="*/ 194 w 1612"/>
                <a:gd name="T53" fmla="*/ 301 h 1386"/>
                <a:gd name="T54" fmla="*/ 195 w 1612"/>
                <a:gd name="T55" fmla="*/ 302 h 1386"/>
                <a:gd name="T56" fmla="*/ 196 w 1612"/>
                <a:gd name="T57" fmla="*/ 302 h 1386"/>
                <a:gd name="T58" fmla="*/ 197 w 1612"/>
                <a:gd name="T59" fmla="*/ 304 h 1386"/>
                <a:gd name="T60" fmla="*/ 198 w 1612"/>
                <a:gd name="T61" fmla="*/ 304 h 1386"/>
                <a:gd name="T62" fmla="*/ 202 w 1612"/>
                <a:gd name="T63" fmla="*/ 305 h 1386"/>
                <a:gd name="T64" fmla="*/ 292 w 1612"/>
                <a:gd name="T65" fmla="*/ 258 h 1386"/>
                <a:gd name="T66" fmla="*/ 293 w 1612"/>
                <a:gd name="T67" fmla="*/ 244 h 1386"/>
                <a:gd name="T68" fmla="*/ 286 w 1612"/>
                <a:gd name="T69" fmla="*/ 239 h 1386"/>
                <a:gd name="T70" fmla="*/ 272 w 1612"/>
                <a:gd name="T71" fmla="*/ 244 h 1386"/>
                <a:gd name="T72" fmla="*/ 260 w 1612"/>
                <a:gd name="T73" fmla="*/ 243 h 1386"/>
                <a:gd name="T74" fmla="*/ 255 w 1612"/>
                <a:gd name="T75" fmla="*/ 236 h 1386"/>
                <a:gd name="T76" fmla="*/ 256 w 1612"/>
                <a:gd name="T77" fmla="*/ 215 h 1386"/>
                <a:gd name="T78" fmla="*/ 266 w 1612"/>
                <a:gd name="T79" fmla="*/ 199 h 1386"/>
                <a:gd name="T80" fmla="*/ 283 w 1612"/>
                <a:gd name="T81" fmla="*/ 187 h 1386"/>
                <a:gd name="T82" fmla="*/ 292 w 1612"/>
                <a:gd name="T83" fmla="*/ 188 h 1386"/>
                <a:gd name="T84" fmla="*/ 298 w 1612"/>
                <a:gd name="T85" fmla="*/ 199 h 1386"/>
                <a:gd name="T86" fmla="*/ 301 w 1612"/>
                <a:gd name="T87" fmla="*/ 212 h 1386"/>
                <a:gd name="T88" fmla="*/ 308 w 1612"/>
                <a:gd name="T89" fmla="*/ 217 h 1386"/>
                <a:gd name="T90" fmla="*/ 353 w 1612"/>
                <a:gd name="T91" fmla="*/ 154 h 1386"/>
                <a:gd name="T92" fmla="*/ 316 w 1612"/>
                <a:gd name="T93" fmla="*/ 84 h 1386"/>
                <a:gd name="T94" fmla="*/ 319 w 1612"/>
                <a:gd name="T95" fmla="*/ 75 h 1386"/>
                <a:gd name="T96" fmla="*/ 331 w 1612"/>
                <a:gd name="T97" fmla="*/ 75 h 1386"/>
                <a:gd name="T98" fmla="*/ 345 w 1612"/>
                <a:gd name="T99" fmla="*/ 80 h 1386"/>
                <a:gd name="T100" fmla="*/ 352 w 1612"/>
                <a:gd name="T101" fmla="*/ 76 h 1386"/>
                <a:gd name="T102" fmla="*/ 356 w 1612"/>
                <a:gd name="T103" fmla="*/ 65 h 1386"/>
                <a:gd name="T104" fmla="*/ 349 w 1612"/>
                <a:gd name="T105" fmla="*/ 44 h 1386"/>
                <a:gd name="T106" fmla="*/ 331 w 1612"/>
                <a:gd name="T107" fmla="*/ 26 h 1386"/>
                <a:gd name="T108" fmla="*/ 320 w 1612"/>
                <a:gd name="T109" fmla="*/ 24 h 1386"/>
                <a:gd name="T110" fmla="*/ 313 w 1612"/>
                <a:gd name="T111" fmla="*/ 31 h 1386"/>
                <a:gd name="T112" fmla="*/ 312 w 1612"/>
                <a:gd name="T113" fmla="*/ 40 h 1386"/>
                <a:gd name="T114" fmla="*/ 307 w 1612"/>
                <a:gd name="T115" fmla="*/ 51 h 1386"/>
                <a:gd name="T116" fmla="*/ 300 w 1612"/>
                <a:gd name="T117" fmla="*/ 53 h 1386"/>
                <a:gd name="T118" fmla="*/ 88 w 1612"/>
                <a:gd name="T119" fmla="*/ 0 h 138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612" h="1386">
                  <a:moveTo>
                    <a:pt x="674" y="1382"/>
                  </a:moveTo>
                  <a:lnTo>
                    <a:pt x="674" y="1382"/>
                  </a:lnTo>
                  <a:lnTo>
                    <a:pt x="670" y="1382"/>
                  </a:lnTo>
                  <a:lnTo>
                    <a:pt x="694" y="1382"/>
                  </a:lnTo>
                  <a:lnTo>
                    <a:pt x="706" y="1378"/>
                  </a:lnTo>
                  <a:lnTo>
                    <a:pt x="708" y="1378"/>
                  </a:lnTo>
                  <a:lnTo>
                    <a:pt x="710" y="1376"/>
                  </a:lnTo>
                  <a:lnTo>
                    <a:pt x="712" y="1374"/>
                  </a:lnTo>
                  <a:lnTo>
                    <a:pt x="714" y="1374"/>
                  </a:lnTo>
                  <a:lnTo>
                    <a:pt x="716" y="1372"/>
                  </a:lnTo>
                  <a:lnTo>
                    <a:pt x="718" y="1372"/>
                  </a:lnTo>
                  <a:lnTo>
                    <a:pt x="720" y="1370"/>
                  </a:lnTo>
                  <a:lnTo>
                    <a:pt x="722" y="1368"/>
                  </a:lnTo>
                  <a:lnTo>
                    <a:pt x="724" y="1368"/>
                  </a:lnTo>
                  <a:lnTo>
                    <a:pt x="726" y="1366"/>
                  </a:lnTo>
                  <a:lnTo>
                    <a:pt x="730" y="1364"/>
                  </a:lnTo>
                  <a:lnTo>
                    <a:pt x="730" y="1362"/>
                  </a:lnTo>
                  <a:lnTo>
                    <a:pt x="732" y="1360"/>
                  </a:lnTo>
                  <a:lnTo>
                    <a:pt x="734" y="1360"/>
                  </a:lnTo>
                  <a:lnTo>
                    <a:pt x="734" y="1358"/>
                  </a:lnTo>
                  <a:lnTo>
                    <a:pt x="736" y="1356"/>
                  </a:lnTo>
                  <a:lnTo>
                    <a:pt x="736" y="1354"/>
                  </a:lnTo>
                  <a:lnTo>
                    <a:pt x="738" y="1354"/>
                  </a:lnTo>
                  <a:lnTo>
                    <a:pt x="738" y="1352"/>
                  </a:lnTo>
                  <a:lnTo>
                    <a:pt x="740" y="1350"/>
                  </a:lnTo>
                  <a:lnTo>
                    <a:pt x="740" y="1348"/>
                  </a:lnTo>
                  <a:lnTo>
                    <a:pt x="740" y="1346"/>
                  </a:lnTo>
                  <a:lnTo>
                    <a:pt x="740" y="1342"/>
                  </a:lnTo>
                  <a:lnTo>
                    <a:pt x="740" y="1330"/>
                  </a:lnTo>
                  <a:lnTo>
                    <a:pt x="736" y="1320"/>
                  </a:lnTo>
                  <a:lnTo>
                    <a:pt x="734" y="1312"/>
                  </a:lnTo>
                  <a:lnTo>
                    <a:pt x="728" y="1306"/>
                  </a:lnTo>
                  <a:lnTo>
                    <a:pt x="716" y="1296"/>
                  </a:lnTo>
                  <a:lnTo>
                    <a:pt x="700" y="1286"/>
                  </a:lnTo>
                  <a:lnTo>
                    <a:pt x="686" y="1278"/>
                  </a:lnTo>
                  <a:lnTo>
                    <a:pt x="674" y="1268"/>
                  </a:lnTo>
                  <a:lnTo>
                    <a:pt x="668" y="1262"/>
                  </a:lnTo>
                  <a:lnTo>
                    <a:pt x="664" y="1254"/>
                  </a:lnTo>
                  <a:lnTo>
                    <a:pt x="662" y="1244"/>
                  </a:lnTo>
                  <a:lnTo>
                    <a:pt x="660" y="1232"/>
                  </a:lnTo>
                  <a:lnTo>
                    <a:pt x="662" y="1222"/>
                  </a:lnTo>
                  <a:lnTo>
                    <a:pt x="664" y="1212"/>
                  </a:lnTo>
                  <a:lnTo>
                    <a:pt x="670" y="1202"/>
                  </a:lnTo>
                  <a:lnTo>
                    <a:pt x="676" y="1194"/>
                  </a:lnTo>
                  <a:lnTo>
                    <a:pt x="684" y="1186"/>
                  </a:lnTo>
                  <a:lnTo>
                    <a:pt x="694" y="1178"/>
                  </a:lnTo>
                  <a:lnTo>
                    <a:pt x="714" y="1166"/>
                  </a:lnTo>
                  <a:lnTo>
                    <a:pt x="738" y="1158"/>
                  </a:lnTo>
                  <a:lnTo>
                    <a:pt x="762" y="1152"/>
                  </a:lnTo>
                  <a:lnTo>
                    <a:pt x="786" y="1150"/>
                  </a:lnTo>
                  <a:lnTo>
                    <a:pt x="804" y="1148"/>
                  </a:lnTo>
                  <a:lnTo>
                    <a:pt x="824" y="1150"/>
                  </a:lnTo>
                  <a:lnTo>
                    <a:pt x="846" y="1152"/>
                  </a:lnTo>
                  <a:lnTo>
                    <a:pt x="870" y="1158"/>
                  </a:lnTo>
                  <a:lnTo>
                    <a:pt x="894" y="1166"/>
                  </a:lnTo>
                  <a:lnTo>
                    <a:pt x="916" y="1178"/>
                  </a:lnTo>
                  <a:lnTo>
                    <a:pt x="924" y="1186"/>
                  </a:lnTo>
                  <a:lnTo>
                    <a:pt x="932" y="1194"/>
                  </a:lnTo>
                  <a:lnTo>
                    <a:pt x="940" y="1202"/>
                  </a:lnTo>
                  <a:lnTo>
                    <a:pt x="944" y="1212"/>
                  </a:lnTo>
                  <a:lnTo>
                    <a:pt x="948" y="1222"/>
                  </a:lnTo>
                  <a:lnTo>
                    <a:pt x="948" y="1232"/>
                  </a:lnTo>
                  <a:lnTo>
                    <a:pt x="948" y="1244"/>
                  </a:lnTo>
                  <a:lnTo>
                    <a:pt x="944" y="1254"/>
                  </a:lnTo>
                  <a:lnTo>
                    <a:pt x="940" y="1262"/>
                  </a:lnTo>
                  <a:lnTo>
                    <a:pt x="936" y="1268"/>
                  </a:lnTo>
                  <a:lnTo>
                    <a:pt x="922" y="1278"/>
                  </a:lnTo>
                  <a:lnTo>
                    <a:pt x="908" y="1286"/>
                  </a:lnTo>
                  <a:lnTo>
                    <a:pt x="894" y="1296"/>
                  </a:lnTo>
                  <a:lnTo>
                    <a:pt x="880" y="1306"/>
                  </a:lnTo>
                  <a:lnTo>
                    <a:pt x="876" y="1312"/>
                  </a:lnTo>
                  <a:lnTo>
                    <a:pt x="872" y="1320"/>
                  </a:lnTo>
                  <a:lnTo>
                    <a:pt x="870" y="1330"/>
                  </a:lnTo>
                  <a:lnTo>
                    <a:pt x="868" y="1342"/>
                  </a:lnTo>
                  <a:lnTo>
                    <a:pt x="868" y="1346"/>
                  </a:lnTo>
                  <a:lnTo>
                    <a:pt x="868" y="1348"/>
                  </a:lnTo>
                  <a:lnTo>
                    <a:pt x="870" y="1350"/>
                  </a:lnTo>
                  <a:lnTo>
                    <a:pt x="870" y="1352"/>
                  </a:lnTo>
                  <a:lnTo>
                    <a:pt x="872" y="1354"/>
                  </a:lnTo>
                  <a:lnTo>
                    <a:pt x="874" y="1356"/>
                  </a:lnTo>
                  <a:lnTo>
                    <a:pt x="874" y="1358"/>
                  </a:lnTo>
                  <a:lnTo>
                    <a:pt x="876" y="1360"/>
                  </a:lnTo>
                  <a:lnTo>
                    <a:pt x="878" y="1362"/>
                  </a:lnTo>
                  <a:lnTo>
                    <a:pt x="880" y="1364"/>
                  </a:lnTo>
                  <a:lnTo>
                    <a:pt x="882" y="1366"/>
                  </a:lnTo>
                  <a:lnTo>
                    <a:pt x="884" y="1368"/>
                  </a:lnTo>
                  <a:lnTo>
                    <a:pt x="886" y="1368"/>
                  </a:lnTo>
                  <a:lnTo>
                    <a:pt x="888" y="1370"/>
                  </a:lnTo>
                  <a:lnTo>
                    <a:pt x="890" y="1372"/>
                  </a:lnTo>
                  <a:lnTo>
                    <a:pt x="892" y="1372"/>
                  </a:lnTo>
                  <a:lnTo>
                    <a:pt x="894" y="1374"/>
                  </a:lnTo>
                  <a:lnTo>
                    <a:pt x="896" y="1374"/>
                  </a:lnTo>
                  <a:lnTo>
                    <a:pt x="898" y="1376"/>
                  </a:lnTo>
                  <a:lnTo>
                    <a:pt x="902" y="1378"/>
                  </a:lnTo>
                  <a:lnTo>
                    <a:pt x="914" y="1382"/>
                  </a:lnTo>
                  <a:lnTo>
                    <a:pt x="940" y="1382"/>
                  </a:lnTo>
                  <a:lnTo>
                    <a:pt x="934" y="1382"/>
                  </a:lnTo>
                  <a:lnTo>
                    <a:pt x="1198" y="1386"/>
                  </a:lnTo>
                  <a:lnTo>
                    <a:pt x="1322" y="1172"/>
                  </a:lnTo>
                  <a:lnTo>
                    <a:pt x="1326" y="1150"/>
                  </a:lnTo>
                  <a:lnTo>
                    <a:pt x="1330" y="1126"/>
                  </a:lnTo>
                  <a:lnTo>
                    <a:pt x="1328" y="1114"/>
                  </a:lnTo>
                  <a:lnTo>
                    <a:pt x="1326" y="1104"/>
                  </a:lnTo>
                  <a:lnTo>
                    <a:pt x="1322" y="1094"/>
                  </a:lnTo>
                  <a:lnTo>
                    <a:pt x="1316" y="1088"/>
                  </a:lnTo>
                  <a:lnTo>
                    <a:pt x="1304" y="1084"/>
                  </a:lnTo>
                  <a:lnTo>
                    <a:pt x="1294" y="1080"/>
                  </a:lnTo>
                  <a:lnTo>
                    <a:pt x="1286" y="1080"/>
                  </a:lnTo>
                  <a:lnTo>
                    <a:pt x="1278" y="1082"/>
                  </a:lnTo>
                  <a:lnTo>
                    <a:pt x="1262" y="1086"/>
                  </a:lnTo>
                  <a:lnTo>
                    <a:pt x="1248" y="1096"/>
                  </a:lnTo>
                  <a:lnTo>
                    <a:pt x="1232" y="1104"/>
                  </a:lnTo>
                  <a:lnTo>
                    <a:pt x="1218" y="1110"/>
                  </a:lnTo>
                  <a:lnTo>
                    <a:pt x="1208" y="1110"/>
                  </a:lnTo>
                  <a:lnTo>
                    <a:pt x="1200" y="1110"/>
                  </a:lnTo>
                  <a:lnTo>
                    <a:pt x="1190" y="1108"/>
                  </a:lnTo>
                  <a:lnTo>
                    <a:pt x="1180" y="1102"/>
                  </a:lnTo>
                  <a:lnTo>
                    <a:pt x="1170" y="1096"/>
                  </a:lnTo>
                  <a:lnTo>
                    <a:pt x="1164" y="1088"/>
                  </a:lnTo>
                  <a:lnTo>
                    <a:pt x="1158" y="1080"/>
                  </a:lnTo>
                  <a:lnTo>
                    <a:pt x="1154" y="1070"/>
                  </a:lnTo>
                  <a:lnTo>
                    <a:pt x="1152" y="1060"/>
                  </a:lnTo>
                  <a:lnTo>
                    <a:pt x="1150" y="1048"/>
                  </a:lnTo>
                  <a:lnTo>
                    <a:pt x="1150" y="1024"/>
                  </a:lnTo>
                  <a:lnTo>
                    <a:pt x="1154" y="998"/>
                  </a:lnTo>
                  <a:lnTo>
                    <a:pt x="1162" y="974"/>
                  </a:lnTo>
                  <a:lnTo>
                    <a:pt x="1170" y="954"/>
                  </a:lnTo>
                  <a:lnTo>
                    <a:pt x="1180" y="936"/>
                  </a:lnTo>
                  <a:lnTo>
                    <a:pt x="1190" y="920"/>
                  </a:lnTo>
                  <a:lnTo>
                    <a:pt x="1204" y="902"/>
                  </a:lnTo>
                  <a:lnTo>
                    <a:pt x="1220" y="884"/>
                  </a:lnTo>
                  <a:lnTo>
                    <a:pt x="1240" y="868"/>
                  </a:lnTo>
                  <a:lnTo>
                    <a:pt x="1260" y="856"/>
                  </a:lnTo>
                  <a:lnTo>
                    <a:pt x="1272" y="850"/>
                  </a:lnTo>
                  <a:lnTo>
                    <a:pt x="1282" y="848"/>
                  </a:lnTo>
                  <a:lnTo>
                    <a:pt x="1292" y="846"/>
                  </a:lnTo>
                  <a:lnTo>
                    <a:pt x="1304" y="846"/>
                  </a:lnTo>
                  <a:lnTo>
                    <a:pt x="1314" y="848"/>
                  </a:lnTo>
                  <a:lnTo>
                    <a:pt x="1324" y="854"/>
                  </a:lnTo>
                  <a:lnTo>
                    <a:pt x="1334" y="860"/>
                  </a:lnTo>
                  <a:lnTo>
                    <a:pt x="1340" y="868"/>
                  </a:lnTo>
                  <a:lnTo>
                    <a:pt x="1346" y="874"/>
                  </a:lnTo>
                  <a:lnTo>
                    <a:pt x="1348" y="882"/>
                  </a:lnTo>
                  <a:lnTo>
                    <a:pt x="1350" y="900"/>
                  </a:lnTo>
                  <a:lnTo>
                    <a:pt x="1350" y="916"/>
                  </a:lnTo>
                  <a:lnTo>
                    <a:pt x="1350" y="932"/>
                  </a:lnTo>
                  <a:lnTo>
                    <a:pt x="1354" y="948"/>
                  </a:lnTo>
                  <a:lnTo>
                    <a:pt x="1358" y="956"/>
                  </a:lnTo>
                  <a:lnTo>
                    <a:pt x="1362" y="964"/>
                  </a:lnTo>
                  <a:lnTo>
                    <a:pt x="1370" y="972"/>
                  </a:lnTo>
                  <a:lnTo>
                    <a:pt x="1380" y="978"/>
                  </a:lnTo>
                  <a:lnTo>
                    <a:pt x="1388" y="980"/>
                  </a:lnTo>
                  <a:lnTo>
                    <a:pt x="1398" y="980"/>
                  </a:lnTo>
                  <a:lnTo>
                    <a:pt x="1408" y="976"/>
                  </a:lnTo>
                  <a:lnTo>
                    <a:pt x="1418" y="972"/>
                  </a:lnTo>
                  <a:lnTo>
                    <a:pt x="1438" y="958"/>
                  </a:lnTo>
                  <a:lnTo>
                    <a:pt x="1456" y="942"/>
                  </a:lnTo>
                  <a:lnTo>
                    <a:pt x="1598" y="696"/>
                  </a:lnTo>
                  <a:lnTo>
                    <a:pt x="1436" y="418"/>
                  </a:lnTo>
                  <a:lnTo>
                    <a:pt x="1434" y="400"/>
                  </a:lnTo>
                  <a:lnTo>
                    <a:pt x="1432" y="382"/>
                  </a:lnTo>
                  <a:lnTo>
                    <a:pt x="1432" y="370"/>
                  </a:lnTo>
                  <a:lnTo>
                    <a:pt x="1434" y="358"/>
                  </a:lnTo>
                  <a:lnTo>
                    <a:pt x="1440" y="348"/>
                  </a:lnTo>
                  <a:lnTo>
                    <a:pt x="1446" y="342"/>
                  </a:lnTo>
                  <a:lnTo>
                    <a:pt x="1456" y="338"/>
                  </a:lnTo>
                  <a:lnTo>
                    <a:pt x="1466" y="334"/>
                  </a:lnTo>
                  <a:lnTo>
                    <a:pt x="1476" y="334"/>
                  </a:lnTo>
                  <a:lnTo>
                    <a:pt x="1484" y="334"/>
                  </a:lnTo>
                  <a:lnTo>
                    <a:pt x="1500" y="340"/>
                  </a:lnTo>
                  <a:lnTo>
                    <a:pt x="1514" y="348"/>
                  </a:lnTo>
                  <a:lnTo>
                    <a:pt x="1528" y="358"/>
                  </a:lnTo>
                  <a:lnTo>
                    <a:pt x="1544" y="364"/>
                  </a:lnTo>
                  <a:lnTo>
                    <a:pt x="1552" y="364"/>
                  </a:lnTo>
                  <a:lnTo>
                    <a:pt x="1562" y="364"/>
                  </a:lnTo>
                  <a:lnTo>
                    <a:pt x="1572" y="362"/>
                  </a:lnTo>
                  <a:lnTo>
                    <a:pt x="1582" y="356"/>
                  </a:lnTo>
                  <a:lnTo>
                    <a:pt x="1590" y="352"/>
                  </a:lnTo>
                  <a:lnTo>
                    <a:pt x="1596" y="346"/>
                  </a:lnTo>
                  <a:lnTo>
                    <a:pt x="1600" y="340"/>
                  </a:lnTo>
                  <a:lnTo>
                    <a:pt x="1604" y="332"/>
                  </a:lnTo>
                  <a:lnTo>
                    <a:pt x="1610" y="316"/>
                  </a:lnTo>
                  <a:lnTo>
                    <a:pt x="1612" y="296"/>
                  </a:lnTo>
                  <a:lnTo>
                    <a:pt x="1608" y="268"/>
                  </a:lnTo>
                  <a:lnTo>
                    <a:pt x="1602" y="242"/>
                  </a:lnTo>
                  <a:lnTo>
                    <a:pt x="1592" y="218"/>
                  </a:lnTo>
                  <a:lnTo>
                    <a:pt x="1582" y="198"/>
                  </a:lnTo>
                  <a:lnTo>
                    <a:pt x="1572" y="182"/>
                  </a:lnTo>
                  <a:lnTo>
                    <a:pt x="1558" y="164"/>
                  </a:lnTo>
                  <a:lnTo>
                    <a:pt x="1542" y="146"/>
                  </a:lnTo>
                  <a:lnTo>
                    <a:pt x="1522" y="130"/>
                  </a:lnTo>
                  <a:lnTo>
                    <a:pt x="1500" y="116"/>
                  </a:lnTo>
                  <a:lnTo>
                    <a:pt x="1490" y="112"/>
                  </a:lnTo>
                  <a:lnTo>
                    <a:pt x="1480" y="108"/>
                  </a:lnTo>
                  <a:lnTo>
                    <a:pt x="1468" y="108"/>
                  </a:lnTo>
                  <a:lnTo>
                    <a:pt x="1458" y="108"/>
                  </a:lnTo>
                  <a:lnTo>
                    <a:pt x="1448" y="110"/>
                  </a:lnTo>
                  <a:lnTo>
                    <a:pt x="1438" y="116"/>
                  </a:lnTo>
                  <a:lnTo>
                    <a:pt x="1430" y="120"/>
                  </a:lnTo>
                  <a:lnTo>
                    <a:pt x="1424" y="126"/>
                  </a:lnTo>
                  <a:lnTo>
                    <a:pt x="1416" y="138"/>
                  </a:lnTo>
                  <a:lnTo>
                    <a:pt x="1412" y="150"/>
                  </a:lnTo>
                  <a:lnTo>
                    <a:pt x="1410" y="164"/>
                  </a:lnTo>
                  <a:lnTo>
                    <a:pt x="1412" y="182"/>
                  </a:lnTo>
                  <a:lnTo>
                    <a:pt x="1410" y="198"/>
                  </a:lnTo>
                  <a:lnTo>
                    <a:pt x="1408" y="212"/>
                  </a:lnTo>
                  <a:lnTo>
                    <a:pt x="1404" y="220"/>
                  </a:lnTo>
                  <a:lnTo>
                    <a:pt x="1398" y="226"/>
                  </a:lnTo>
                  <a:lnTo>
                    <a:pt x="1392" y="234"/>
                  </a:lnTo>
                  <a:lnTo>
                    <a:pt x="1382" y="240"/>
                  </a:lnTo>
                  <a:lnTo>
                    <a:pt x="1376" y="242"/>
                  </a:lnTo>
                  <a:lnTo>
                    <a:pt x="1368" y="242"/>
                  </a:lnTo>
                  <a:lnTo>
                    <a:pt x="1360" y="240"/>
                  </a:lnTo>
                  <a:lnTo>
                    <a:pt x="1352" y="238"/>
                  </a:lnTo>
                  <a:lnTo>
                    <a:pt x="1334" y="228"/>
                  </a:lnTo>
                  <a:lnTo>
                    <a:pt x="1320" y="216"/>
                  </a:lnTo>
                  <a:lnTo>
                    <a:pt x="1198" y="0"/>
                  </a:lnTo>
                  <a:lnTo>
                    <a:pt x="400" y="0"/>
                  </a:lnTo>
                  <a:lnTo>
                    <a:pt x="0" y="694"/>
                  </a:lnTo>
                  <a:lnTo>
                    <a:pt x="398" y="1384"/>
                  </a:lnTo>
                  <a:lnTo>
                    <a:pt x="400" y="1382"/>
                  </a:lnTo>
                  <a:lnTo>
                    <a:pt x="674" y="1382"/>
                  </a:lnTo>
                  <a:close/>
                </a:path>
              </a:pathLst>
            </a:custGeom>
            <a:solidFill>
              <a:srgbClr val="20B7EC"/>
            </a:solidFill>
            <a:ln w="38100" cap="flat" cmpd="sng">
              <a:solidFill>
                <a:srgbClr val="5F5F5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E"/>
            </a:p>
          </p:txBody>
        </p:sp>
        <p:sp>
          <p:nvSpPr>
            <p:cNvPr id="27668" name="Text Box 8"/>
            <p:cNvSpPr txBox="1">
              <a:spLocks noChangeArrowheads="1"/>
            </p:cNvSpPr>
            <p:nvPr/>
          </p:nvSpPr>
          <p:spPr bwMode="auto">
            <a:xfrm flipH="1">
              <a:off x="1463" y="1758"/>
              <a:ext cx="890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5F5F5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GB" b="1">
                  <a:solidFill>
                    <a:srgbClr val="000000"/>
                  </a:solidFill>
                  <a:cs typeface="Arial" charset="0"/>
                </a:rPr>
                <a:t>Medication</a:t>
              </a:r>
            </a:p>
          </p:txBody>
        </p:sp>
      </p:grpSp>
      <p:grpSp>
        <p:nvGrpSpPr>
          <p:cNvPr id="27653" name="Group 9"/>
          <p:cNvGrpSpPr>
            <a:grpSpLocks/>
          </p:cNvGrpSpPr>
          <p:nvPr/>
        </p:nvGrpSpPr>
        <p:grpSpPr bwMode="auto">
          <a:xfrm>
            <a:off x="4284663" y="1604963"/>
            <a:ext cx="1739900" cy="1765300"/>
            <a:chOff x="3632" y="1479"/>
            <a:chExt cx="1096" cy="1112"/>
          </a:xfrm>
        </p:grpSpPr>
        <p:sp>
          <p:nvSpPr>
            <p:cNvPr id="27665" name="Freeform 10"/>
            <p:cNvSpPr>
              <a:spLocks/>
            </p:cNvSpPr>
            <p:nvPr/>
          </p:nvSpPr>
          <p:spPr bwMode="auto">
            <a:xfrm>
              <a:off x="3632" y="1479"/>
              <a:ext cx="1096" cy="1112"/>
            </a:xfrm>
            <a:custGeom>
              <a:avLst/>
              <a:gdLst>
                <a:gd name="T0" fmla="*/ 58 w 1600"/>
                <a:gd name="T1" fmla="*/ 58 h 1624"/>
                <a:gd name="T2" fmla="*/ 63 w 1600"/>
                <a:gd name="T3" fmla="*/ 69 h 1624"/>
                <a:gd name="T4" fmla="*/ 82 w 1600"/>
                <a:gd name="T5" fmla="*/ 64 h 1624"/>
                <a:gd name="T6" fmla="*/ 93 w 1600"/>
                <a:gd name="T7" fmla="*/ 68 h 1624"/>
                <a:gd name="T8" fmla="*/ 95 w 1600"/>
                <a:gd name="T9" fmla="*/ 94 h 1624"/>
                <a:gd name="T10" fmla="*/ 82 w 1600"/>
                <a:gd name="T11" fmla="*/ 115 h 1624"/>
                <a:gd name="T12" fmla="*/ 60 w 1600"/>
                <a:gd name="T13" fmla="*/ 123 h 1624"/>
                <a:gd name="T14" fmla="*/ 53 w 1600"/>
                <a:gd name="T15" fmla="*/ 112 h 1624"/>
                <a:gd name="T16" fmla="*/ 47 w 1600"/>
                <a:gd name="T17" fmla="*/ 94 h 1624"/>
                <a:gd name="T18" fmla="*/ 31 w 1600"/>
                <a:gd name="T19" fmla="*/ 101 h 1624"/>
                <a:gd name="T20" fmla="*/ 31 w 1600"/>
                <a:gd name="T21" fmla="*/ 205 h 1624"/>
                <a:gd name="T22" fmla="*/ 47 w 1600"/>
                <a:gd name="T23" fmla="*/ 213 h 1624"/>
                <a:gd name="T24" fmla="*/ 53 w 1600"/>
                <a:gd name="T25" fmla="*/ 199 h 1624"/>
                <a:gd name="T26" fmla="*/ 59 w 1600"/>
                <a:gd name="T27" fmla="*/ 186 h 1624"/>
                <a:gd name="T28" fmla="*/ 77 w 1600"/>
                <a:gd name="T29" fmla="*/ 188 h 1624"/>
                <a:gd name="T30" fmla="*/ 95 w 1600"/>
                <a:gd name="T31" fmla="*/ 212 h 1624"/>
                <a:gd name="T32" fmla="*/ 95 w 1600"/>
                <a:gd name="T33" fmla="*/ 237 h 1624"/>
                <a:gd name="T34" fmla="*/ 83 w 1600"/>
                <a:gd name="T35" fmla="*/ 242 h 1624"/>
                <a:gd name="T36" fmla="*/ 63 w 1600"/>
                <a:gd name="T37" fmla="*/ 236 h 1624"/>
                <a:gd name="T38" fmla="*/ 59 w 1600"/>
                <a:gd name="T39" fmla="*/ 250 h 1624"/>
                <a:gd name="T40" fmla="*/ 147 w 1600"/>
                <a:gd name="T41" fmla="*/ 305 h 1624"/>
                <a:gd name="T42" fmla="*/ 151 w 1600"/>
                <a:gd name="T43" fmla="*/ 306 h 1624"/>
                <a:gd name="T44" fmla="*/ 153 w 1600"/>
                <a:gd name="T45" fmla="*/ 307 h 1624"/>
                <a:gd name="T46" fmla="*/ 155 w 1600"/>
                <a:gd name="T47" fmla="*/ 308 h 1624"/>
                <a:gd name="T48" fmla="*/ 157 w 1600"/>
                <a:gd name="T49" fmla="*/ 310 h 1624"/>
                <a:gd name="T50" fmla="*/ 159 w 1600"/>
                <a:gd name="T51" fmla="*/ 311 h 1624"/>
                <a:gd name="T52" fmla="*/ 160 w 1600"/>
                <a:gd name="T53" fmla="*/ 313 h 1624"/>
                <a:gd name="T54" fmla="*/ 160 w 1600"/>
                <a:gd name="T55" fmla="*/ 314 h 1624"/>
                <a:gd name="T56" fmla="*/ 160 w 1600"/>
                <a:gd name="T57" fmla="*/ 316 h 1624"/>
                <a:gd name="T58" fmla="*/ 160 w 1600"/>
                <a:gd name="T59" fmla="*/ 318 h 1624"/>
                <a:gd name="T60" fmla="*/ 155 w 1600"/>
                <a:gd name="T61" fmla="*/ 325 h 1624"/>
                <a:gd name="T62" fmla="*/ 148 w 1600"/>
                <a:gd name="T63" fmla="*/ 328 h 1624"/>
                <a:gd name="T64" fmla="*/ 145 w 1600"/>
                <a:gd name="T65" fmla="*/ 331 h 1624"/>
                <a:gd name="T66" fmla="*/ 144 w 1600"/>
                <a:gd name="T67" fmla="*/ 333 h 1624"/>
                <a:gd name="T68" fmla="*/ 142 w 1600"/>
                <a:gd name="T69" fmla="*/ 337 h 1624"/>
                <a:gd name="T70" fmla="*/ 143 w 1600"/>
                <a:gd name="T71" fmla="*/ 344 h 1624"/>
                <a:gd name="T72" fmla="*/ 164 w 1600"/>
                <a:gd name="T73" fmla="*/ 356 h 1624"/>
                <a:gd name="T74" fmla="*/ 194 w 1600"/>
                <a:gd name="T75" fmla="*/ 353 h 1624"/>
                <a:gd name="T76" fmla="*/ 206 w 1600"/>
                <a:gd name="T77" fmla="*/ 338 h 1624"/>
                <a:gd name="T78" fmla="*/ 205 w 1600"/>
                <a:gd name="T79" fmla="*/ 334 h 1624"/>
                <a:gd name="T80" fmla="*/ 203 w 1600"/>
                <a:gd name="T81" fmla="*/ 331 h 1624"/>
                <a:gd name="T82" fmla="*/ 202 w 1600"/>
                <a:gd name="T83" fmla="*/ 330 h 1624"/>
                <a:gd name="T84" fmla="*/ 199 w 1600"/>
                <a:gd name="T85" fmla="*/ 328 h 1624"/>
                <a:gd name="T86" fmla="*/ 190 w 1600"/>
                <a:gd name="T87" fmla="*/ 321 h 1624"/>
                <a:gd name="T88" fmla="*/ 188 w 1600"/>
                <a:gd name="T89" fmla="*/ 318 h 1624"/>
                <a:gd name="T90" fmla="*/ 188 w 1600"/>
                <a:gd name="T91" fmla="*/ 316 h 1624"/>
                <a:gd name="T92" fmla="*/ 188 w 1600"/>
                <a:gd name="T93" fmla="*/ 314 h 1624"/>
                <a:gd name="T94" fmla="*/ 188 w 1600"/>
                <a:gd name="T95" fmla="*/ 313 h 1624"/>
                <a:gd name="T96" fmla="*/ 189 w 1600"/>
                <a:gd name="T97" fmla="*/ 312 h 1624"/>
                <a:gd name="T98" fmla="*/ 190 w 1600"/>
                <a:gd name="T99" fmla="*/ 310 h 1624"/>
                <a:gd name="T100" fmla="*/ 192 w 1600"/>
                <a:gd name="T101" fmla="*/ 308 h 1624"/>
                <a:gd name="T102" fmla="*/ 195 w 1600"/>
                <a:gd name="T103" fmla="*/ 307 h 1624"/>
                <a:gd name="T104" fmla="*/ 197 w 1600"/>
                <a:gd name="T105" fmla="*/ 307 h 1624"/>
                <a:gd name="T106" fmla="*/ 201 w 1600"/>
                <a:gd name="T107" fmla="*/ 305 h 1624"/>
                <a:gd name="T108" fmla="*/ 264 w 1600"/>
                <a:gd name="T109" fmla="*/ 0 h 16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00" h="1624">
                  <a:moveTo>
                    <a:pt x="1200" y="0"/>
                  </a:moveTo>
                  <a:lnTo>
                    <a:pt x="402" y="0"/>
                  </a:lnTo>
                  <a:lnTo>
                    <a:pt x="400" y="6"/>
                  </a:lnTo>
                  <a:lnTo>
                    <a:pt x="400" y="8"/>
                  </a:lnTo>
                  <a:lnTo>
                    <a:pt x="266" y="240"/>
                  </a:lnTo>
                  <a:lnTo>
                    <a:pt x="262" y="260"/>
                  </a:lnTo>
                  <a:lnTo>
                    <a:pt x="262" y="282"/>
                  </a:lnTo>
                  <a:lnTo>
                    <a:pt x="264" y="290"/>
                  </a:lnTo>
                  <a:lnTo>
                    <a:pt x="266" y="298"/>
                  </a:lnTo>
                  <a:lnTo>
                    <a:pt x="270" y="306"/>
                  </a:lnTo>
                  <a:lnTo>
                    <a:pt x="276" y="310"/>
                  </a:lnTo>
                  <a:lnTo>
                    <a:pt x="286" y="316"/>
                  </a:lnTo>
                  <a:lnTo>
                    <a:pt x="296" y="318"/>
                  </a:lnTo>
                  <a:lnTo>
                    <a:pt x="306" y="320"/>
                  </a:lnTo>
                  <a:lnTo>
                    <a:pt x="314" y="318"/>
                  </a:lnTo>
                  <a:lnTo>
                    <a:pt x="330" y="312"/>
                  </a:lnTo>
                  <a:lnTo>
                    <a:pt x="344" y="304"/>
                  </a:lnTo>
                  <a:lnTo>
                    <a:pt x="358" y="296"/>
                  </a:lnTo>
                  <a:lnTo>
                    <a:pt x="374" y="290"/>
                  </a:lnTo>
                  <a:lnTo>
                    <a:pt x="382" y="288"/>
                  </a:lnTo>
                  <a:lnTo>
                    <a:pt x="392" y="290"/>
                  </a:lnTo>
                  <a:lnTo>
                    <a:pt x="400" y="292"/>
                  </a:lnTo>
                  <a:lnTo>
                    <a:pt x="412" y="296"/>
                  </a:lnTo>
                  <a:lnTo>
                    <a:pt x="418" y="302"/>
                  </a:lnTo>
                  <a:lnTo>
                    <a:pt x="424" y="306"/>
                  </a:lnTo>
                  <a:lnTo>
                    <a:pt x="434" y="320"/>
                  </a:lnTo>
                  <a:lnTo>
                    <a:pt x="438" y="336"/>
                  </a:lnTo>
                  <a:lnTo>
                    <a:pt x="442" y="352"/>
                  </a:lnTo>
                  <a:lnTo>
                    <a:pt x="442" y="370"/>
                  </a:lnTo>
                  <a:lnTo>
                    <a:pt x="438" y="390"/>
                  </a:lnTo>
                  <a:lnTo>
                    <a:pt x="434" y="408"/>
                  </a:lnTo>
                  <a:lnTo>
                    <a:pt x="430" y="426"/>
                  </a:lnTo>
                  <a:lnTo>
                    <a:pt x="420" y="450"/>
                  </a:lnTo>
                  <a:lnTo>
                    <a:pt x="410" y="472"/>
                  </a:lnTo>
                  <a:lnTo>
                    <a:pt x="398" y="488"/>
                  </a:lnTo>
                  <a:lnTo>
                    <a:pt x="384" y="506"/>
                  </a:lnTo>
                  <a:lnTo>
                    <a:pt x="368" y="524"/>
                  </a:lnTo>
                  <a:lnTo>
                    <a:pt x="348" y="540"/>
                  </a:lnTo>
                  <a:lnTo>
                    <a:pt x="328" y="552"/>
                  </a:lnTo>
                  <a:lnTo>
                    <a:pt x="318" y="556"/>
                  </a:lnTo>
                  <a:lnTo>
                    <a:pt x="306" y="560"/>
                  </a:lnTo>
                  <a:lnTo>
                    <a:pt x="296" y="562"/>
                  </a:lnTo>
                  <a:lnTo>
                    <a:pt x="284" y="562"/>
                  </a:lnTo>
                  <a:lnTo>
                    <a:pt x="274" y="558"/>
                  </a:lnTo>
                  <a:lnTo>
                    <a:pt x="264" y="554"/>
                  </a:lnTo>
                  <a:lnTo>
                    <a:pt x="256" y="548"/>
                  </a:lnTo>
                  <a:lnTo>
                    <a:pt x="248" y="540"/>
                  </a:lnTo>
                  <a:lnTo>
                    <a:pt x="244" y="532"/>
                  </a:lnTo>
                  <a:lnTo>
                    <a:pt x="240" y="524"/>
                  </a:lnTo>
                  <a:lnTo>
                    <a:pt x="238" y="508"/>
                  </a:lnTo>
                  <a:lnTo>
                    <a:pt x="238" y="492"/>
                  </a:lnTo>
                  <a:lnTo>
                    <a:pt x="238" y="474"/>
                  </a:lnTo>
                  <a:lnTo>
                    <a:pt x="234" y="458"/>
                  </a:lnTo>
                  <a:lnTo>
                    <a:pt x="232" y="450"/>
                  </a:lnTo>
                  <a:lnTo>
                    <a:pt x="226" y="444"/>
                  </a:lnTo>
                  <a:lnTo>
                    <a:pt x="218" y="436"/>
                  </a:lnTo>
                  <a:lnTo>
                    <a:pt x="210" y="430"/>
                  </a:lnTo>
                  <a:lnTo>
                    <a:pt x="202" y="426"/>
                  </a:lnTo>
                  <a:lnTo>
                    <a:pt x="192" y="426"/>
                  </a:lnTo>
                  <a:lnTo>
                    <a:pt x="184" y="430"/>
                  </a:lnTo>
                  <a:lnTo>
                    <a:pt x="174" y="434"/>
                  </a:lnTo>
                  <a:lnTo>
                    <a:pt x="156" y="446"/>
                  </a:lnTo>
                  <a:lnTo>
                    <a:pt x="140" y="460"/>
                  </a:lnTo>
                  <a:lnTo>
                    <a:pt x="40" y="632"/>
                  </a:lnTo>
                  <a:lnTo>
                    <a:pt x="4" y="694"/>
                  </a:lnTo>
                  <a:lnTo>
                    <a:pt x="0" y="694"/>
                  </a:lnTo>
                  <a:lnTo>
                    <a:pt x="2" y="696"/>
                  </a:lnTo>
                  <a:lnTo>
                    <a:pt x="4" y="696"/>
                  </a:lnTo>
                  <a:lnTo>
                    <a:pt x="140" y="934"/>
                  </a:lnTo>
                  <a:lnTo>
                    <a:pt x="158" y="948"/>
                  </a:lnTo>
                  <a:lnTo>
                    <a:pt x="176" y="962"/>
                  </a:lnTo>
                  <a:lnTo>
                    <a:pt x="186" y="968"/>
                  </a:lnTo>
                  <a:lnTo>
                    <a:pt x="196" y="970"/>
                  </a:lnTo>
                  <a:lnTo>
                    <a:pt x="206" y="970"/>
                  </a:lnTo>
                  <a:lnTo>
                    <a:pt x="214" y="968"/>
                  </a:lnTo>
                  <a:lnTo>
                    <a:pt x="224" y="960"/>
                  </a:lnTo>
                  <a:lnTo>
                    <a:pt x="230" y="954"/>
                  </a:lnTo>
                  <a:lnTo>
                    <a:pt x="236" y="946"/>
                  </a:lnTo>
                  <a:lnTo>
                    <a:pt x="240" y="938"/>
                  </a:lnTo>
                  <a:lnTo>
                    <a:pt x="242" y="922"/>
                  </a:lnTo>
                  <a:lnTo>
                    <a:pt x="242" y="906"/>
                  </a:lnTo>
                  <a:lnTo>
                    <a:pt x="242" y="888"/>
                  </a:lnTo>
                  <a:lnTo>
                    <a:pt x="244" y="872"/>
                  </a:lnTo>
                  <a:lnTo>
                    <a:pt x="248" y="864"/>
                  </a:lnTo>
                  <a:lnTo>
                    <a:pt x="252" y="858"/>
                  </a:lnTo>
                  <a:lnTo>
                    <a:pt x="260" y="850"/>
                  </a:lnTo>
                  <a:lnTo>
                    <a:pt x="268" y="844"/>
                  </a:lnTo>
                  <a:lnTo>
                    <a:pt x="278" y="838"/>
                  </a:lnTo>
                  <a:lnTo>
                    <a:pt x="290" y="836"/>
                  </a:lnTo>
                  <a:lnTo>
                    <a:pt x="300" y="836"/>
                  </a:lnTo>
                  <a:lnTo>
                    <a:pt x="310" y="836"/>
                  </a:lnTo>
                  <a:lnTo>
                    <a:pt x="322" y="840"/>
                  </a:lnTo>
                  <a:lnTo>
                    <a:pt x="332" y="844"/>
                  </a:lnTo>
                  <a:lnTo>
                    <a:pt x="352" y="858"/>
                  </a:lnTo>
                  <a:lnTo>
                    <a:pt x="372" y="874"/>
                  </a:lnTo>
                  <a:lnTo>
                    <a:pt x="390" y="892"/>
                  </a:lnTo>
                  <a:lnTo>
                    <a:pt x="404" y="910"/>
                  </a:lnTo>
                  <a:lnTo>
                    <a:pt x="414" y="926"/>
                  </a:lnTo>
                  <a:lnTo>
                    <a:pt x="422" y="944"/>
                  </a:lnTo>
                  <a:lnTo>
                    <a:pt x="432" y="964"/>
                  </a:lnTo>
                  <a:lnTo>
                    <a:pt x="438" y="988"/>
                  </a:lnTo>
                  <a:lnTo>
                    <a:pt x="442" y="1012"/>
                  </a:lnTo>
                  <a:lnTo>
                    <a:pt x="444" y="1038"/>
                  </a:lnTo>
                  <a:lnTo>
                    <a:pt x="442" y="1048"/>
                  </a:lnTo>
                  <a:lnTo>
                    <a:pt x="440" y="1060"/>
                  </a:lnTo>
                  <a:lnTo>
                    <a:pt x="436" y="1070"/>
                  </a:lnTo>
                  <a:lnTo>
                    <a:pt x="430" y="1078"/>
                  </a:lnTo>
                  <a:lnTo>
                    <a:pt x="422" y="1086"/>
                  </a:lnTo>
                  <a:lnTo>
                    <a:pt x="412" y="1092"/>
                  </a:lnTo>
                  <a:lnTo>
                    <a:pt x="402" y="1098"/>
                  </a:lnTo>
                  <a:lnTo>
                    <a:pt x="392" y="1100"/>
                  </a:lnTo>
                  <a:lnTo>
                    <a:pt x="384" y="1100"/>
                  </a:lnTo>
                  <a:lnTo>
                    <a:pt x="376" y="1100"/>
                  </a:lnTo>
                  <a:lnTo>
                    <a:pt x="360" y="1094"/>
                  </a:lnTo>
                  <a:lnTo>
                    <a:pt x="346" y="1084"/>
                  </a:lnTo>
                  <a:lnTo>
                    <a:pt x="330" y="1076"/>
                  </a:lnTo>
                  <a:lnTo>
                    <a:pt x="316" y="1070"/>
                  </a:lnTo>
                  <a:lnTo>
                    <a:pt x="306" y="1070"/>
                  </a:lnTo>
                  <a:lnTo>
                    <a:pt x="298" y="1070"/>
                  </a:lnTo>
                  <a:lnTo>
                    <a:pt x="288" y="1074"/>
                  </a:lnTo>
                  <a:lnTo>
                    <a:pt x="278" y="1078"/>
                  </a:lnTo>
                  <a:lnTo>
                    <a:pt x="272" y="1084"/>
                  </a:lnTo>
                  <a:lnTo>
                    <a:pt x="266" y="1092"/>
                  </a:lnTo>
                  <a:lnTo>
                    <a:pt x="264" y="1102"/>
                  </a:lnTo>
                  <a:lnTo>
                    <a:pt x="264" y="1114"/>
                  </a:lnTo>
                  <a:lnTo>
                    <a:pt x="266" y="1136"/>
                  </a:lnTo>
                  <a:lnTo>
                    <a:pt x="270" y="1158"/>
                  </a:lnTo>
                  <a:lnTo>
                    <a:pt x="402" y="1386"/>
                  </a:lnTo>
                  <a:lnTo>
                    <a:pt x="668" y="1386"/>
                  </a:lnTo>
                  <a:lnTo>
                    <a:pt x="674" y="1388"/>
                  </a:lnTo>
                  <a:lnTo>
                    <a:pt x="686" y="1392"/>
                  </a:lnTo>
                  <a:lnTo>
                    <a:pt x="688" y="1394"/>
                  </a:lnTo>
                  <a:lnTo>
                    <a:pt x="692" y="1394"/>
                  </a:lnTo>
                  <a:lnTo>
                    <a:pt x="694" y="1396"/>
                  </a:lnTo>
                  <a:lnTo>
                    <a:pt x="696" y="1398"/>
                  </a:lnTo>
                  <a:lnTo>
                    <a:pt x="700" y="1398"/>
                  </a:lnTo>
                  <a:lnTo>
                    <a:pt x="702" y="1400"/>
                  </a:lnTo>
                  <a:lnTo>
                    <a:pt x="704" y="1402"/>
                  </a:lnTo>
                  <a:lnTo>
                    <a:pt x="706" y="1402"/>
                  </a:lnTo>
                  <a:lnTo>
                    <a:pt x="710" y="1406"/>
                  </a:lnTo>
                  <a:lnTo>
                    <a:pt x="714" y="1410"/>
                  </a:lnTo>
                  <a:lnTo>
                    <a:pt x="716" y="1410"/>
                  </a:lnTo>
                  <a:lnTo>
                    <a:pt x="718" y="1412"/>
                  </a:lnTo>
                  <a:lnTo>
                    <a:pt x="720" y="1414"/>
                  </a:lnTo>
                  <a:lnTo>
                    <a:pt x="722" y="1416"/>
                  </a:lnTo>
                  <a:lnTo>
                    <a:pt x="722" y="1418"/>
                  </a:lnTo>
                  <a:lnTo>
                    <a:pt x="724" y="1420"/>
                  </a:lnTo>
                  <a:lnTo>
                    <a:pt x="724" y="1422"/>
                  </a:lnTo>
                  <a:lnTo>
                    <a:pt x="726" y="1424"/>
                  </a:lnTo>
                  <a:lnTo>
                    <a:pt x="726" y="1426"/>
                  </a:lnTo>
                  <a:lnTo>
                    <a:pt x="726" y="1430"/>
                  </a:lnTo>
                  <a:lnTo>
                    <a:pt x="726" y="1436"/>
                  </a:lnTo>
                  <a:lnTo>
                    <a:pt x="726" y="1438"/>
                  </a:lnTo>
                  <a:lnTo>
                    <a:pt x="726" y="1442"/>
                  </a:lnTo>
                  <a:lnTo>
                    <a:pt x="724" y="1444"/>
                  </a:lnTo>
                  <a:lnTo>
                    <a:pt x="724" y="1448"/>
                  </a:lnTo>
                  <a:lnTo>
                    <a:pt x="720" y="1458"/>
                  </a:lnTo>
                  <a:lnTo>
                    <a:pt x="716" y="1464"/>
                  </a:lnTo>
                  <a:lnTo>
                    <a:pt x="710" y="1470"/>
                  </a:lnTo>
                  <a:lnTo>
                    <a:pt x="704" y="1476"/>
                  </a:lnTo>
                  <a:lnTo>
                    <a:pt x="690" y="1484"/>
                  </a:lnTo>
                  <a:lnTo>
                    <a:pt x="676" y="1492"/>
                  </a:lnTo>
                  <a:lnTo>
                    <a:pt x="674" y="1494"/>
                  </a:lnTo>
                  <a:lnTo>
                    <a:pt x="672" y="1494"/>
                  </a:lnTo>
                  <a:lnTo>
                    <a:pt x="668" y="1498"/>
                  </a:lnTo>
                  <a:lnTo>
                    <a:pt x="666" y="1498"/>
                  </a:lnTo>
                  <a:lnTo>
                    <a:pt x="662" y="1502"/>
                  </a:lnTo>
                  <a:lnTo>
                    <a:pt x="660" y="1504"/>
                  </a:lnTo>
                  <a:lnTo>
                    <a:pt x="656" y="1508"/>
                  </a:lnTo>
                  <a:lnTo>
                    <a:pt x="652" y="1514"/>
                  </a:lnTo>
                  <a:lnTo>
                    <a:pt x="650" y="1522"/>
                  </a:lnTo>
                  <a:lnTo>
                    <a:pt x="648" y="1530"/>
                  </a:lnTo>
                  <a:lnTo>
                    <a:pt x="648" y="1532"/>
                  </a:lnTo>
                  <a:lnTo>
                    <a:pt x="646" y="1540"/>
                  </a:lnTo>
                  <a:lnTo>
                    <a:pt x="648" y="1552"/>
                  </a:lnTo>
                  <a:lnTo>
                    <a:pt x="650" y="1562"/>
                  </a:lnTo>
                  <a:lnTo>
                    <a:pt x="656" y="1572"/>
                  </a:lnTo>
                  <a:lnTo>
                    <a:pt x="662" y="1580"/>
                  </a:lnTo>
                  <a:lnTo>
                    <a:pt x="670" y="1588"/>
                  </a:lnTo>
                  <a:lnTo>
                    <a:pt x="680" y="1594"/>
                  </a:lnTo>
                  <a:lnTo>
                    <a:pt x="700" y="1606"/>
                  </a:lnTo>
                  <a:lnTo>
                    <a:pt x="724" y="1614"/>
                  </a:lnTo>
                  <a:lnTo>
                    <a:pt x="748" y="1620"/>
                  </a:lnTo>
                  <a:lnTo>
                    <a:pt x="770" y="1624"/>
                  </a:lnTo>
                  <a:lnTo>
                    <a:pt x="790" y="1624"/>
                  </a:lnTo>
                  <a:lnTo>
                    <a:pt x="810" y="1624"/>
                  </a:lnTo>
                  <a:lnTo>
                    <a:pt x="832" y="1620"/>
                  </a:lnTo>
                  <a:lnTo>
                    <a:pt x="856" y="1614"/>
                  </a:lnTo>
                  <a:lnTo>
                    <a:pt x="880" y="1606"/>
                  </a:lnTo>
                  <a:lnTo>
                    <a:pt x="902" y="1594"/>
                  </a:lnTo>
                  <a:lnTo>
                    <a:pt x="910" y="1588"/>
                  </a:lnTo>
                  <a:lnTo>
                    <a:pt x="918" y="1580"/>
                  </a:lnTo>
                  <a:lnTo>
                    <a:pt x="926" y="1572"/>
                  </a:lnTo>
                  <a:lnTo>
                    <a:pt x="930" y="1562"/>
                  </a:lnTo>
                  <a:lnTo>
                    <a:pt x="934" y="1552"/>
                  </a:lnTo>
                  <a:lnTo>
                    <a:pt x="934" y="1540"/>
                  </a:lnTo>
                  <a:lnTo>
                    <a:pt x="934" y="1532"/>
                  </a:lnTo>
                  <a:lnTo>
                    <a:pt x="934" y="1530"/>
                  </a:lnTo>
                  <a:lnTo>
                    <a:pt x="932" y="1522"/>
                  </a:lnTo>
                  <a:lnTo>
                    <a:pt x="930" y="1522"/>
                  </a:lnTo>
                  <a:lnTo>
                    <a:pt x="928" y="1514"/>
                  </a:lnTo>
                  <a:lnTo>
                    <a:pt x="924" y="1508"/>
                  </a:lnTo>
                  <a:lnTo>
                    <a:pt x="920" y="1504"/>
                  </a:lnTo>
                  <a:lnTo>
                    <a:pt x="918" y="1502"/>
                  </a:lnTo>
                  <a:lnTo>
                    <a:pt x="914" y="1498"/>
                  </a:lnTo>
                  <a:lnTo>
                    <a:pt x="912" y="1498"/>
                  </a:lnTo>
                  <a:lnTo>
                    <a:pt x="908" y="1494"/>
                  </a:lnTo>
                  <a:lnTo>
                    <a:pt x="906" y="1494"/>
                  </a:lnTo>
                  <a:lnTo>
                    <a:pt x="904" y="1492"/>
                  </a:lnTo>
                  <a:lnTo>
                    <a:pt x="890" y="1484"/>
                  </a:lnTo>
                  <a:lnTo>
                    <a:pt x="878" y="1476"/>
                  </a:lnTo>
                  <a:lnTo>
                    <a:pt x="866" y="1466"/>
                  </a:lnTo>
                  <a:lnTo>
                    <a:pt x="862" y="1460"/>
                  </a:lnTo>
                  <a:lnTo>
                    <a:pt x="858" y="1454"/>
                  </a:lnTo>
                  <a:lnTo>
                    <a:pt x="856" y="1448"/>
                  </a:lnTo>
                  <a:lnTo>
                    <a:pt x="856" y="1444"/>
                  </a:lnTo>
                  <a:lnTo>
                    <a:pt x="856" y="1442"/>
                  </a:lnTo>
                  <a:lnTo>
                    <a:pt x="854" y="1438"/>
                  </a:lnTo>
                  <a:lnTo>
                    <a:pt x="854" y="1436"/>
                  </a:lnTo>
                  <a:lnTo>
                    <a:pt x="854" y="1430"/>
                  </a:lnTo>
                  <a:lnTo>
                    <a:pt x="854" y="1426"/>
                  </a:lnTo>
                  <a:lnTo>
                    <a:pt x="856" y="1424"/>
                  </a:lnTo>
                  <a:lnTo>
                    <a:pt x="856" y="1422"/>
                  </a:lnTo>
                  <a:lnTo>
                    <a:pt x="856" y="1420"/>
                  </a:lnTo>
                  <a:lnTo>
                    <a:pt x="858" y="1418"/>
                  </a:lnTo>
                  <a:lnTo>
                    <a:pt x="860" y="1416"/>
                  </a:lnTo>
                  <a:lnTo>
                    <a:pt x="862" y="1414"/>
                  </a:lnTo>
                  <a:lnTo>
                    <a:pt x="862" y="1412"/>
                  </a:lnTo>
                  <a:lnTo>
                    <a:pt x="864" y="1410"/>
                  </a:lnTo>
                  <a:lnTo>
                    <a:pt x="866" y="1410"/>
                  </a:lnTo>
                  <a:lnTo>
                    <a:pt x="870" y="1406"/>
                  </a:lnTo>
                  <a:lnTo>
                    <a:pt x="874" y="1402"/>
                  </a:lnTo>
                  <a:lnTo>
                    <a:pt x="876" y="1402"/>
                  </a:lnTo>
                  <a:lnTo>
                    <a:pt x="880" y="1400"/>
                  </a:lnTo>
                  <a:lnTo>
                    <a:pt x="882" y="1398"/>
                  </a:lnTo>
                  <a:lnTo>
                    <a:pt x="884" y="1398"/>
                  </a:lnTo>
                  <a:lnTo>
                    <a:pt x="886" y="1396"/>
                  </a:lnTo>
                  <a:lnTo>
                    <a:pt x="890" y="1394"/>
                  </a:lnTo>
                  <a:lnTo>
                    <a:pt x="892" y="1394"/>
                  </a:lnTo>
                  <a:lnTo>
                    <a:pt x="894" y="1392"/>
                  </a:lnTo>
                  <a:lnTo>
                    <a:pt x="906" y="1388"/>
                  </a:lnTo>
                  <a:lnTo>
                    <a:pt x="908" y="1388"/>
                  </a:lnTo>
                  <a:lnTo>
                    <a:pt x="912" y="1386"/>
                  </a:lnTo>
                  <a:lnTo>
                    <a:pt x="1200" y="1386"/>
                  </a:lnTo>
                  <a:lnTo>
                    <a:pt x="1200" y="1384"/>
                  </a:lnTo>
                  <a:lnTo>
                    <a:pt x="1600" y="694"/>
                  </a:lnTo>
                  <a:lnTo>
                    <a:pt x="1200" y="0"/>
                  </a:lnTo>
                  <a:close/>
                </a:path>
              </a:pathLst>
            </a:custGeom>
            <a:solidFill>
              <a:srgbClr val="FBFB37"/>
            </a:solidFill>
            <a:ln w="38100" cap="flat" cmpd="sng">
              <a:solidFill>
                <a:srgbClr val="5F5F5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E"/>
            </a:p>
          </p:txBody>
        </p:sp>
        <p:sp>
          <p:nvSpPr>
            <p:cNvPr id="27666" name="Text Box 11"/>
            <p:cNvSpPr txBox="1">
              <a:spLocks noChangeArrowheads="1"/>
            </p:cNvSpPr>
            <p:nvPr/>
          </p:nvSpPr>
          <p:spPr bwMode="auto">
            <a:xfrm>
              <a:off x="3805" y="1643"/>
              <a:ext cx="785" cy="5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5F5F5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IE" b="1">
                  <a:solidFill>
                    <a:srgbClr val="000000"/>
                  </a:solidFill>
                  <a:cs typeface="Arial" charset="0"/>
                </a:rPr>
                <a:t>Cold Chain Supplier</a:t>
              </a:r>
              <a:endParaRPr lang="en-GB" b="1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27654" name="Group 12"/>
          <p:cNvGrpSpPr>
            <a:grpSpLocks/>
          </p:cNvGrpSpPr>
          <p:nvPr/>
        </p:nvGrpSpPr>
        <p:grpSpPr bwMode="auto">
          <a:xfrm>
            <a:off x="6315075" y="1657350"/>
            <a:ext cx="1739900" cy="1503363"/>
            <a:chOff x="3632" y="2767"/>
            <a:chExt cx="1096" cy="947"/>
          </a:xfrm>
        </p:grpSpPr>
        <p:sp>
          <p:nvSpPr>
            <p:cNvPr id="27663" name="Freeform 13"/>
            <p:cNvSpPr>
              <a:spLocks/>
            </p:cNvSpPr>
            <p:nvPr/>
          </p:nvSpPr>
          <p:spPr bwMode="auto">
            <a:xfrm>
              <a:off x="3632" y="2767"/>
              <a:ext cx="1096" cy="947"/>
            </a:xfrm>
            <a:custGeom>
              <a:avLst/>
              <a:gdLst>
                <a:gd name="T0" fmla="*/ 200 w 1600"/>
                <a:gd name="T1" fmla="*/ 1 h 1382"/>
                <a:gd name="T2" fmla="*/ 197 w 1600"/>
                <a:gd name="T3" fmla="*/ 2 h 1382"/>
                <a:gd name="T4" fmla="*/ 195 w 1600"/>
                <a:gd name="T5" fmla="*/ 3 h 1382"/>
                <a:gd name="T6" fmla="*/ 193 w 1600"/>
                <a:gd name="T7" fmla="*/ 3 h 1382"/>
                <a:gd name="T8" fmla="*/ 191 w 1600"/>
                <a:gd name="T9" fmla="*/ 5 h 1382"/>
                <a:gd name="T10" fmla="*/ 190 w 1600"/>
                <a:gd name="T11" fmla="*/ 6 h 1382"/>
                <a:gd name="T12" fmla="*/ 189 w 1600"/>
                <a:gd name="T13" fmla="*/ 8 h 1382"/>
                <a:gd name="T14" fmla="*/ 188 w 1600"/>
                <a:gd name="T15" fmla="*/ 9 h 1382"/>
                <a:gd name="T16" fmla="*/ 188 w 1600"/>
                <a:gd name="T17" fmla="*/ 10 h 1382"/>
                <a:gd name="T18" fmla="*/ 188 w 1600"/>
                <a:gd name="T19" fmla="*/ 13 h 1382"/>
                <a:gd name="T20" fmla="*/ 188 w 1600"/>
                <a:gd name="T21" fmla="*/ 14 h 1382"/>
                <a:gd name="T22" fmla="*/ 190 w 1600"/>
                <a:gd name="T23" fmla="*/ 18 h 1382"/>
                <a:gd name="T24" fmla="*/ 199 w 1600"/>
                <a:gd name="T25" fmla="*/ 24 h 1382"/>
                <a:gd name="T26" fmla="*/ 201 w 1600"/>
                <a:gd name="T27" fmla="*/ 25 h 1382"/>
                <a:gd name="T28" fmla="*/ 203 w 1600"/>
                <a:gd name="T29" fmla="*/ 27 h 1382"/>
                <a:gd name="T30" fmla="*/ 205 w 1600"/>
                <a:gd name="T31" fmla="*/ 29 h 1382"/>
                <a:gd name="T32" fmla="*/ 206 w 1600"/>
                <a:gd name="T33" fmla="*/ 32 h 1382"/>
                <a:gd name="T34" fmla="*/ 206 w 1600"/>
                <a:gd name="T35" fmla="*/ 34 h 1382"/>
                <a:gd name="T36" fmla="*/ 200 w 1600"/>
                <a:gd name="T37" fmla="*/ 45 h 1382"/>
                <a:gd name="T38" fmla="*/ 174 w 1600"/>
                <a:gd name="T39" fmla="*/ 53 h 1382"/>
                <a:gd name="T40" fmla="*/ 150 w 1600"/>
                <a:gd name="T41" fmla="*/ 47 h 1382"/>
                <a:gd name="T42" fmla="*/ 142 w 1600"/>
                <a:gd name="T43" fmla="*/ 34 h 1382"/>
                <a:gd name="T44" fmla="*/ 142 w 1600"/>
                <a:gd name="T45" fmla="*/ 32 h 1382"/>
                <a:gd name="T46" fmla="*/ 143 w 1600"/>
                <a:gd name="T47" fmla="*/ 31 h 1382"/>
                <a:gd name="T48" fmla="*/ 145 w 1600"/>
                <a:gd name="T49" fmla="*/ 27 h 1382"/>
                <a:gd name="T50" fmla="*/ 145 w 1600"/>
                <a:gd name="T51" fmla="*/ 26 h 1382"/>
                <a:gd name="T52" fmla="*/ 148 w 1600"/>
                <a:gd name="T53" fmla="*/ 24 h 1382"/>
                <a:gd name="T54" fmla="*/ 154 w 1600"/>
                <a:gd name="T55" fmla="*/ 20 h 1382"/>
                <a:gd name="T56" fmla="*/ 160 w 1600"/>
                <a:gd name="T57" fmla="*/ 14 h 1382"/>
                <a:gd name="T58" fmla="*/ 160 w 1600"/>
                <a:gd name="T59" fmla="*/ 13 h 1382"/>
                <a:gd name="T60" fmla="*/ 160 w 1600"/>
                <a:gd name="T61" fmla="*/ 10 h 1382"/>
                <a:gd name="T62" fmla="*/ 160 w 1600"/>
                <a:gd name="T63" fmla="*/ 9 h 1382"/>
                <a:gd name="T64" fmla="*/ 159 w 1600"/>
                <a:gd name="T65" fmla="*/ 8 h 1382"/>
                <a:gd name="T66" fmla="*/ 158 w 1600"/>
                <a:gd name="T67" fmla="*/ 6 h 1382"/>
                <a:gd name="T68" fmla="*/ 156 w 1600"/>
                <a:gd name="T69" fmla="*/ 5 h 1382"/>
                <a:gd name="T70" fmla="*/ 155 w 1600"/>
                <a:gd name="T71" fmla="*/ 3 h 1382"/>
                <a:gd name="T72" fmla="*/ 153 w 1600"/>
                <a:gd name="T73" fmla="*/ 3 h 1382"/>
                <a:gd name="T74" fmla="*/ 151 w 1600"/>
                <a:gd name="T75" fmla="*/ 2 h 1382"/>
                <a:gd name="T76" fmla="*/ 148 w 1600"/>
                <a:gd name="T77" fmla="*/ 1 h 1382"/>
                <a:gd name="T78" fmla="*/ 88 w 1600"/>
                <a:gd name="T79" fmla="*/ 1 h 1382"/>
                <a:gd name="T80" fmla="*/ 58 w 1600"/>
                <a:gd name="T81" fmla="*/ 66 h 1382"/>
                <a:gd name="T82" fmla="*/ 66 w 1600"/>
                <a:gd name="T83" fmla="*/ 71 h 1382"/>
                <a:gd name="T84" fmla="*/ 84 w 1600"/>
                <a:gd name="T85" fmla="*/ 64 h 1382"/>
                <a:gd name="T86" fmla="*/ 93 w 1600"/>
                <a:gd name="T87" fmla="*/ 69 h 1382"/>
                <a:gd name="T88" fmla="*/ 95 w 1600"/>
                <a:gd name="T89" fmla="*/ 89 h 1382"/>
                <a:gd name="T90" fmla="*/ 84 w 1600"/>
                <a:gd name="T91" fmla="*/ 110 h 1382"/>
                <a:gd name="T92" fmla="*/ 65 w 1600"/>
                <a:gd name="T93" fmla="*/ 123 h 1382"/>
                <a:gd name="T94" fmla="*/ 54 w 1600"/>
                <a:gd name="T95" fmla="*/ 118 h 1382"/>
                <a:gd name="T96" fmla="*/ 51 w 1600"/>
                <a:gd name="T97" fmla="*/ 100 h 1382"/>
                <a:gd name="T98" fmla="*/ 45 w 1600"/>
                <a:gd name="T99" fmla="*/ 93 h 1382"/>
                <a:gd name="T100" fmla="*/ 1 w 1600"/>
                <a:gd name="T101" fmla="*/ 152 h 1382"/>
                <a:gd name="T102" fmla="*/ 32 w 1600"/>
                <a:gd name="T103" fmla="*/ 205 h 1382"/>
                <a:gd name="T104" fmla="*/ 44 w 1600"/>
                <a:gd name="T105" fmla="*/ 210 h 1382"/>
                <a:gd name="T106" fmla="*/ 50 w 1600"/>
                <a:gd name="T107" fmla="*/ 204 h 1382"/>
                <a:gd name="T108" fmla="*/ 53 w 1600"/>
                <a:gd name="T109" fmla="*/ 186 h 1382"/>
                <a:gd name="T110" fmla="*/ 63 w 1600"/>
                <a:gd name="T111" fmla="*/ 181 h 1382"/>
                <a:gd name="T112" fmla="*/ 82 w 1600"/>
                <a:gd name="T113" fmla="*/ 190 h 1382"/>
                <a:gd name="T114" fmla="*/ 93 w 1600"/>
                <a:gd name="T115" fmla="*/ 209 h 1382"/>
                <a:gd name="T116" fmla="*/ 95 w 1600"/>
                <a:gd name="T117" fmla="*/ 232 h 1382"/>
                <a:gd name="T118" fmla="*/ 83 w 1600"/>
                <a:gd name="T119" fmla="*/ 239 h 1382"/>
                <a:gd name="T120" fmla="*/ 68 w 1600"/>
                <a:gd name="T121" fmla="*/ 233 h 1382"/>
                <a:gd name="T122" fmla="*/ 58 w 1600"/>
                <a:gd name="T123" fmla="*/ 236 h 1382"/>
                <a:gd name="T124" fmla="*/ 88 w 1600"/>
                <a:gd name="T125" fmla="*/ 305 h 13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600" h="1382">
                  <a:moveTo>
                    <a:pt x="1200" y="2"/>
                  </a:moveTo>
                  <a:lnTo>
                    <a:pt x="912" y="2"/>
                  </a:lnTo>
                  <a:lnTo>
                    <a:pt x="908" y="4"/>
                  </a:lnTo>
                  <a:lnTo>
                    <a:pt x="906" y="4"/>
                  </a:lnTo>
                  <a:lnTo>
                    <a:pt x="894" y="8"/>
                  </a:lnTo>
                  <a:lnTo>
                    <a:pt x="892" y="10"/>
                  </a:lnTo>
                  <a:lnTo>
                    <a:pt x="890" y="10"/>
                  </a:lnTo>
                  <a:lnTo>
                    <a:pt x="886" y="12"/>
                  </a:lnTo>
                  <a:lnTo>
                    <a:pt x="884" y="14"/>
                  </a:lnTo>
                  <a:lnTo>
                    <a:pt x="882" y="14"/>
                  </a:lnTo>
                  <a:lnTo>
                    <a:pt x="880" y="16"/>
                  </a:lnTo>
                  <a:lnTo>
                    <a:pt x="876" y="18"/>
                  </a:lnTo>
                  <a:lnTo>
                    <a:pt x="874" y="18"/>
                  </a:lnTo>
                  <a:lnTo>
                    <a:pt x="870" y="22"/>
                  </a:lnTo>
                  <a:lnTo>
                    <a:pt x="866" y="26"/>
                  </a:lnTo>
                  <a:lnTo>
                    <a:pt x="864" y="26"/>
                  </a:lnTo>
                  <a:lnTo>
                    <a:pt x="862" y="28"/>
                  </a:lnTo>
                  <a:lnTo>
                    <a:pt x="862" y="30"/>
                  </a:lnTo>
                  <a:lnTo>
                    <a:pt x="860" y="32"/>
                  </a:lnTo>
                  <a:lnTo>
                    <a:pt x="858" y="34"/>
                  </a:lnTo>
                  <a:lnTo>
                    <a:pt x="856" y="36"/>
                  </a:lnTo>
                  <a:lnTo>
                    <a:pt x="856" y="38"/>
                  </a:lnTo>
                  <a:lnTo>
                    <a:pt x="856" y="40"/>
                  </a:lnTo>
                  <a:lnTo>
                    <a:pt x="854" y="42"/>
                  </a:lnTo>
                  <a:lnTo>
                    <a:pt x="854" y="46"/>
                  </a:lnTo>
                  <a:lnTo>
                    <a:pt x="854" y="52"/>
                  </a:lnTo>
                  <a:lnTo>
                    <a:pt x="854" y="54"/>
                  </a:lnTo>
                  <a:lnTo>
                    <a:pt x="856" y="58"/>
                  </a:lnTo>
                  <a:lnTo>
                    <a:pt x="856" y="60"/>
                  </a:lnTo>
                  <a:lnTo>
                    <a:pt x="856" y="64"/>
                  </a:lnTo>
                  <a:lnTo>
                    <a:pt x="858" y="70"/>
                  </a:lnTo>
                  <a:lnTo>
                    <a:pt x="862" y="76"/>
                  </a:lnTo>
                  <a:lnTo>
                    <a:pt x="866" y="82"/>
                  </a:lnTo>
                  <a:lnTo>
                    <a:pt x="878" y="92"/>
                  </a:lnTo>
                  <a:lnTo>
                    <a:pt x="890" y="100"/>
                  </a:lnTo>
                  <a:lnTo>
                    <a:pt x="904" y="108"/>
                  </a:lnTo>
                  <a:lnTo>
                    <a:pt x="906" y="110"/>
                  </a:lnTo>
                  <a:lnTo>
                    <a:pt x="908" y="110"/>
                  </a:lnTo>
                  <a:lnTo>
                    <a:pt x="912" y="114"/>
                  </a:lnTo>
                  <a:lnTo>
                    <a:pt x="914" y="114"/>
                  </a:lnTo>
                  <a:lnTo>
                    <a:pt x="918" y="118"/>
                  </a:lnTo>
                  <a:lnTo>
                    <a:pt x="920" y="120"/>
                  </a:lnTo>
                  <a:lnTo>
                    <a:pt x="924" y="124"/>
                  </a:lnTo>
                  <a:lnTo>
                    <a:pt x="928" y="130"/>
                  </a:lnTo>
                  <a:lnTo>
                    <a:pt x="930" y="138"/>
                  </a:lnTo>
                  <a:lnTo>
                    <a:pt x="932" y="138"/>
                  </a:lnTo>
                  <a:lnTo>
                    <a:pt x="934" y="146"/>
                  </a:lnTo>
                  <a:lnTo>
                    <a:pt x="934" y="148"/>
                  </a:lnTo>
                  <a:lnTo>
                    <a:pt x="934" y="156"/>
                  </a:lnTo>
                  <a:lnTo>
                    <a:pt x="934" y="168"/>
                  </a:lnTo>
                  <a:lnTo>
                    <a:pt x="930" y="178"/>
                  </a:lnTo>
                  <a:lnTo>
                    <a:pt x="926" y="188"/>
                  </a:lnTo>
                  <a:lnTo>
                    <a:pt x="918" y="196"/>
                  </a:lnTo>
                  <a:lnTo>
                    <a:pt x="910" y="204"/>
                  </a:lnTo>
                  <a:lnTo>
                    <a:pt x="902" y="210"/>
                  </a:lnTo>
                  <a:lnTo>
                    <a:pt x="880" y="222"/>
                  </a:lnTo>
                  <a:lnTo>
                    <a:pt x="856" y="230"/>
                  </a:lnTo>
                  <a:lnTo>
                    <a:pt x="832" y="236"/>
                  </a:lnTo>
                  <a:lnTo>
                    <a:pt x="810" y="240"/>
                  </a:lnTo>
                  <a:lnTo>
                    <a:pt x="790" y="240"/>
                  </a:lnTo>
                  <a:lnTo>
                    <a:pt x="770" y="240"/>
                  </a:lnTo>
                  <a:lnTo>
                    <a:pt x="748" y="236"/>
                  </a:lnTo>
                  <a:lnTo>
                    <a:pt x="724" y="230"/>
                  </a:lnTo>
                  <a:lnTo>
                    <a:pt x="700" y="222"/>
                  </a:lnTo>
                  <a:lnTo>
                    <a:pt x="680" y="210"/>
                  </a:lnTo>
                  <a:lnTo>
                    <a:pt x="670" y="204"/>
                  </a:lnTo>
                  <a:lnTo>
                    <a:pt x="662" y="196"/>
                  </a:lnTo>
                  <a:lnTo>
                    <a:pt x="656" y="188"/>
                  </a:lnTo>
                  <a:lnTo>
                    <a:pt x="650" y="178"/>
                  </a:lnTo>
                  <a:lnTo>
                    <a:pt x="648" y="168"/>
                  </a:lnTo>
                  <a:lnTo>
                    <a:pt x="646" y="156"/>
                  </a:lnTo>
                  <a:lnTo>
                    <a:pt x="648" y="148"/>
                  </a:lnTo>
                  <a:lnTo>
                    <a:pt x="648" y="146"/>
                  </a:lnTo>
                  <a:lnTo>
                    <a:pt x="650" y="138"/>
                  </a:lnTo>
                  <a:lnTo>
                    <a:pt x="652" y="130"/>
                  </a:lnTo>
                  <a:lnTo>
                    <a:pt x="656" y="124"/>
                  </a:lnTo>
                  <a:lnTo>
                    <a:pt x="660" y="120"/>
                  </a:lnTo>
                  <a:lnTo>
                    <a:pt x="662" y="118"/>
                  </a:lnTo>
                  <a:lnTo>
                    <a:pt x="666" y="114"/>
                  </a:lnTo>
                  <a:lnTo>
                    <a:pt x="668" y="114"/>
                  </a:lnTo>
                  <a:lnTo>
                    <a:pt x="672" y="110"/>
                  </a:lnTo>
                  <a:lnTo>
                    <a:pt x="674" y="110"/>
                  </a:lnTo>
                  <a:lnTo>
                    <a:pt x="676" y="108"/>
                  </a:lnTo>
                  <a:lnTo>
                    <a:pt x="690" y="100"/>
                  </a:lnTo>
                  <a:lnTo>
                    <a:pt x="702" y="92"/>
                  </a:lnTo>
                  <a:lnTo>
                    <a:pt x="714" y="82"/>
                  </a:lnTo>
                  <a:lnTo>
                    <a:pt x="718" y="76"/>
                  </a:lnTo>
                  <a:lnTo>
                    <a:pt x="722" y="70"/>
                  </a:lnTo>
                  <a:lnTo>
                    <a:pt x="724" y="64"/>
                  </a:lnTo>
                  <a:lnTo>
                    <a:pt x="724" y="60"/>
                  </a:lnTo>
                  <a:lnTo>
                    <a:pt x="726" y="58"/>
                  </a:lnTo>
                  <a:lnTo>
                    <a:pt x="726" y="54"/>
                  </a:lnTo>
                  <a:lnTo>
                    <a:pt x="726" y="52"/>
                  </a:lnTo>
                  <a:lnTo>
                    <a:pt x="726" y="46"/>
                  </a:lnTo>
                  <a:lnTo>
                    <a:pt x="726" y="42"/>
                  </a:lnTo>
                  <a:lnTo>
                    <a:pt x="726" y="40"/>
                  </a:lnTo>
                  <a:lnTo>
                    <a:pt x="724" y="38"/>
                  </a:lnTo>
                  <a:lnTo>
                    <a:pt x="724" y="36"/>
                  </a:lnTo>
                  <a:lnTo>
                    <a:pt x="722" y="34"/>
                  </a:lnTo>
                  <a:lnTo>
                    <a:pt x="722" y="32"/>
                  </a:lnTo>
                  <a:lnTo>
                    <a:pt x="720" y="30"/>
                  </a:lnTo>
                  <a:lnTo>
                    <a:pt x="718" y="28"/>
                  </a:lnTo>
                  <a:lnTo>
                    <a:pt x="716" y="26"/>
                  </a:lnTo>
                  <a:lnTo>
                    <a:pt x="714" y="26"/>
                  </a:lnTo>
                  <a:lnTo>
                    <a:pt x="710" y="22"/>
                  </a:lnTo>
                  <a:lnTo>
                    <a:pt x="706" y="18"/>
                  </a:lnTo>
                  <a:lnTo>
                    <a:pt x="704" y="18"/>
                  </a:lnTo>
                  <a:lnTo>
                    <a:pt x="702" y="16"/>
                  </a:lnTo>
                  <a:lnTo>
                    <a:pt x="700" y="14"/>
                  </a:lnTo>
                  <a:lnTo>
                    <a:pt x="696" y="14"/>
                  </a:lnTo>
                  <a:lnTo>
                    <a:pt x="694" y="12"/>
                  </a:lnTo>
                  <a:lnTo>
                    <a:pt x="692" y="10"/>
                  </a:lnTo>
                  <a:lnTo>
                    <a:pt x="688" y="10"/>
                  </a:lnTo>
                  <a:lnTo>
                    <a:pt x="686" y="8"/>
                  </a:lnTo>
                  <a:lnTo>
                    <a:pt x="674" y="4"/>
                  </a:lnTo>
                  <a:lnTo>
                    <a:pt x="668" y="2"/>
                  </a:lnTo>
                  <a:lnTo>
                    <a:pt x="402" y="2"/>
                  </a:lnTo>
                  <a:lnTo>
                    <a:pt x="264" y="238"/>
                  </a:lnTo>
                  <a:lnTo>
                    <a:pt x="260" y="260"/>
                  </a:lnTo>
                  <a:lnTo>
                    <a:pt x="260" y="282"/>
                  </a:lnTo>
                  <a:lnTo>
                    <a:pt x="260" y="292"/>
                  </a:lnTo>
                  <a:lnTo>
                    <a:pt x="262" y="300"/>
                  </a:lnTo>
                  <a:lnTo>
                    <a:pt x="268" y="308"/>
                  </a:lnTo>
                  <a:lnTo>
                    <a:pt x="274" y="314"/>
                  </a:lnTo>
                  <a:lnTo>
                    <a:pt x="284" y="318"/>
                  </a:lnTo>
                  <a:lnTo>
                    <a:pt x="294" y="322"/>
                  </a:lnTo>
                  <a:lnTo>
                    <a:pt x="302" y="322"/>
                  </a:lnTo>
                  <a:lnTo>
                    <a:pt x="312" y="322"/>
                  </a:lnTo>
                  <a:lnTo>
                    <a:pt x="326" y="316"/>
                  </a:lnTo>
                  <a:lnTo>
                    <a:pt x="342" y="308"/>
                  </a:lnTo>
                  <a:lnTo>
                    <a:pt x="356" y="298"/>
                  </a:lnTo>
                  <a:lnTo>
                    <a:pt x="372" y="292"/>
                  </a:lnTo>
                  <a:lnTo>
                    <a:pt x="380" y="292"/>
                  </a:lnTo>
                  <a:lnTo>
                    <a:pt x="388" y="292"/>
                  </a:lnTo>
                  <a:lnTo>
                    <a:pt x="398" y="294"/>
                  </a:lnTo>
                  <a:lnTo>
                    <a:pt x="408" y="300"/>
                  </a:lnTo>
                  <a:lnTo>
                    <a:pt x="418" y="306"/>
                  </a:lnTo>
                  <a:lnTo>
                    <a:pt x="424" y="314"/>
                  </a:lnTo>
                  <a:lnTo>
                    <a:pt x="430" y="322"/>
                  </a:lnTo>
                  <a:lnTo>
                    <a:pt x="434" y="332"/>
                  </a:lnTo>
                  <a:lnTo>
                    <a:pt x="438" y="344"/>
                  </a:lnTo>
                  <a:lnTo>
                    <a:pt x="438" y="354"/>
                  </a:lnTo>
                  <a:lnTo>
                    <a:pt x="438" y="380"/>
                  </a:lnTo>
                  <a:lnTo>
                    <a:pt x="434" y="404"/>
                  </a:lnTo>
                  <a:lnTo>
                    <a:pt x="426" y="428"/>
                  </a:lnTo>
                  <a:lnTo>
                    <a:pt x="418" y="448"/>
                  </a:lnTo>
                  <a:lnTo>
                    <a:pt x="410" y="466"/>
                  </a:lnTo>
                  <a:lnTo>
                    <a:pt x="398" y="482"/>
                  </a:lnTo>
                  <a:lnTo>
                    <a:pt x="384" y="500"/>
                  </a:lnTo>
                  <a:lnTo>
                    <a:pt x="368" y="518"/>
                  </a:lnTo>
                  <a:lnTo>
                    <a:pt x="348" y="534"/>
                  </a:lnTo>
                  <a:lnTo>
                    <a:pt x="328" y="548"/>
                  </a:lnTo>
                  <a:lnTo>
                    <a:pt x="318" y="552"/>
                  </a:lnTo>
                  <a:lnTo>
                    <a:pt x="306" y="554"/>
                  </a:lnTo>
                  <a:lnTo>
                    <a:pt x="296" y="556"/>
                  </a:lnTo>
                  <a:lnTo>
                    <a:pt x="284" y="556"/>
                  </a:lnTo>
                  <a:lnTo>
                    <a:pt x="274" y="554"/>
                  </a:lnTo>
                  <a:lnTo>
                    <a:pt x="264" y="548"/>
                  </a:lnTo>
                  <a:lnTo>
                    <a:pt x="256" y="542"/>
                  </a:lnTo>
                  <a:lnTo>
                    <a:pt x="248" y="534"/>
                  </a:lnTo>
                  <a:lnTo>
                    <a:pt x="244" y="528"/>
                  </a:lnTo>
                  <a:lnTo>
                    <a:pt x="240" y="520"/>
                  </a:lnTo>
                  <a:lnTo>
                    <a:pt x="238" y="504"/>
                  </a:lnTo>
                  <a:lnTo>
                    <a:pt x="238" y="486"/>
                  </a:lnTo>
                  <a:lnTo>
                    <a:pt x="238" y="470"/>
                  </a:lnTo>
                  <a:lnTo>
                    <a:pt x="234" y="454"/>
                  </a:lnTo>
                  <a:lnTo>
                    <a:pt x="232" y="446"/>
                  </a:lnTo>
                  <a:lnTo>
                    <a:pt x="226" y="438"/>
                  </a:lnTo>
                  <a:lnTo>
                    <a:pt x="218" y="430"/>
                  </a:lnTo>
                  <a:lnTo>
                    <a:pt x="210" y="424"/>
                  </a:lnTo>
                  <a:lnTo>
                    <a:pt x="202" y="422"/>
                  </a:lnTo>
                  <a:lnTo>
                    <a:pt x="194" y="422"/>
                  </a:lnTo>
                  <a:lnTo>
                    <a:pt x="184" y="424"/>
                  </a:lnTo>
                  <a:lnTo>
                    <a:pt x="174" y="428"/>
                  </a:lnTo>
                  <a:lnTo>
                    <a:pt x="156" y="440"/>
                  </a:lnTo>
                  <a:lnTo>
                    <a:pt x="140" y="454"/>
                  </a:lnTo>
                  <a:lnTo>
                    <a:pt x="4" y="690"/>
                  </a:lnTo>
                  <a:lnTo>
                    <a:pt x="0" y="690"/>
                  </a:lnTo>
                  <a:lnTo>
                    <a:pt x="2" y="694"/>
                  </a:lnTo>
                  <a:lnTo>
                    <a:pt x="4" y="694"/>
                  </a:lnTo>
                  <a:lnTo>
                    <a:pt x="132" y="918"/>
                  </a:lnTo>
                  <a:lnTo>
                    <a:pt x="146" y="930"/>
                  </a:lnTo>
                  <a:lnTo>
                    <a:pt x="160" y="942"/>
                  </a:lnTo>
                  <a:lnTo>
                    <a:pt x="176" y="950"/>
                  </a:lnTo>
                  <a:lnTo>
                    <a:pt x="184" y="954"/>
                  </a:lnTo>
                  <a:lnTo>
                    <a:pt x="192" y="954"/>
                  </a:lnTo>
                  <a:lnTo>
                    <a:pt x="198" y="954"/>
                  </a:lnTo>
                  <a:lnTo>
                    <a:pt x="202" y="952"/>
                  </a:lnTo>
                  <a:lnTo>
                    <a:pt x="212" y="944"/>
                  </a:lnTo>
                  <a:lnTo>
                    <a:pt x="220" y="938"/>
                  </a:lnTo>
                  <a:lnTo>
                    <a:pt x="224" y="930"/>
                  </a:lnTo>
                  <a:lnTo>
                    <a:pt x="228" y="922"/>
                  </a:lnTo>
                  <a:lnTo>
                    <a:pt x="230" y="906"/>
                  </a:lnTo>
                  <a:lnTo>
                    <a:pt x="230" y="890"/>
                  </a:lnTo>
                  <a:lnTo>
                    <a:pt x="230" y="872"/>
                  </a:lnTo>
                  <a:lnTo>
                    <a:pt x="234" y="856"/>
                  </a:lnTo>
                  <a:lnTo>
                    <a:pt x="236" y="848"/>
                  </a:lnTo>
                  <a:lnTo>
                    <a:pt x="242" y="842"/>
                  </a:lnTo>
                  <a:lnTo>
                    <a:pt x="248" y="834"/>
                  </a:lnTo>
                  <a:lnTo>
                    <a:pt x="258" y="828"/>
                  </a:lnTo>
                  <a:lnTo>
                    <a:pt x="272" y="822"/>
                  </a:lnTo>
                  <a:lnTo>
                    <a:pt x="286" y="820"/>
                  </a:lnTo>
                  <a:lnTo>
                    <a:pt x="296" y="820"/>
                  </a:lnTo>
                  <a:lnTo>
                    <a:pt x="304" y="822"/>
                  </a:lnTo>
                  <a:lnTo>
                    <a:pt x="322" y="828"/>
                  </a:lnTo>
                  <a:lnTo>
                    <a:pt x="340" y="838"/>
                  </a:lnTo>
                  <a:lnTo>
                    <a:pt x="358" y="852"/>
                  </a:lnTo>
                  <a:lnTo>
                    <a:pt x="372" y="866"/>
                  </a:lnTo>
                  <a:lnTo>
                    <a:pt x="386" y="882"/>
                  </a:lnTo>
                  <a:lnTo>
                    <a:pt x="398" y="896"/>
                  </a:lnTo>
                  <a:lnTo>
                    <a:pt x="406" y="910"/>
                  </a:lnTo>
                  <a:lnTo>
                    <a:pt x="414" y="928"/>
                  </a:lnTo>
                  <a:lnTo>
                    <a:pt x="424" y="948"/>
                  </a:lnTo>
                  <a:lnTo>
                    <a:pt x="430" y="972"/>
                  </a:lnTo>
                  <a:lnTo>
                    <a:pt x="434" y="996"/>
                  </a:lnTo>
                  <a:lnTo>
                    <a:pt x="436" y="1022"/>
                  </a:lnTo>
                  <a:lnTo>
                    <a:pt x="434" y="1032"/>
                  </a:lnTo>
                  <a:lnTo>
                    <a:pt x="432" y="1044"/>
                  </a:lnTo>
                  <a:lnTo>
                    <a:pt x="428" y="1054"/>
                  </a:lnTo>
                  <a:lnTo>
                    <a:pt x="422" y="1062"/>
                  </a:lnTo>
                  <a:lnTo>
                    <a:pt x="414" y="1070"/>
                  </a:lnTo>
                  <a:lnTo>
                    <a:pt x="404" y="1076"/>
                  </a:lnTo>
                  <a:lnTo>
                    <a:pt x="390" y="1082"/>
                  </a:lnTo>
                  <a:lnTo>
                    <a:pt x="376" y="1084"/>
                  </a:lnTo>
                  <a:lnTo>
                    <a:pt x="366" y="1084"/>
                  </a:lnTo>
                  <a:lnTo>
                    <a:pt x="354" y="1080"/>
                  </a:lnTo>
                  <a:lnTo>
                    <a:pt x="336" y="1070"/>
                  </a:lnTo>
                  <a:lnTo>
                    <a:pt x="318" y="1060"/>
                  </a:lnTo>
                  <a:lnTo>
                    <a:pt x="308" y="1056"/>
                  </a:lnTo>
                  <a:lnTo>
                    <a:pt x="296" y="1054"/>
                  </a:lnTo>
                  <a:lnTo>
                    <a:pt x="284" y="1056"/>
                  </a:lnTo>
                  <a:lnTo>
                    <a:pt x="270" y="1062"/>
                  </a:lnTo>
                  <a:lnTo>
                    <a:pt x="264" y="1068"/>
                  </a:lnTo>
                  <a:lnTo>
                    <a:pt x="258" y="1076"/>
                  </a:lnTo>
                  <a:lnTo>
                    <a:pt x="256" y="1086"/>
                  </a:lnTo>
                  <a:lnTo>
                    <a:pt x="256" y="1096"/>
                  </a:lnTo>
                  <a:lnTo>
                    <a:pt x="258" y="1120"/>
                  </a:lnTo>
                  <a:lnTo>
                    <a:pt x="262" y="1142"/>
                  </a:lnTo>
                  <a:lnTo>
                    <a:pt x="402" y="1382"/>
                  </a:lnTo>
                  <a:lnTo>
                    <a:pt x="1200" y="1382"/>
                  </a:lnTo>
                  <a:lnTo>
                    <a:pt x="1600" y="690"/>
                  </a:lnTo>
                  <a:lnTo>
                    <a:pt x="1200" y="0"/>
                  </a:lnTo>
                  <a:lnTo>
                    <a:pt x="1200" y="2"/>
                  </a:lnTo>
                  <a:close/>
                </a:path>
              </a:pathLst>
            </a:custGeom>
            <a:solidFill>
              <a:schemeClr val="bg2"/>
            </a:solidFill>
            <a:ln w="38100" cap="flat" cmpd="sng">
              <a:solidFill>
                <a:srgbClr val="5F5F5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E"/>
            </a:p>
          </p:txBody>
        </p:sp>
        <p:sp>
          <p:nvSpPr>
            <p:cNvPr id="27664" name="Text Box 14"/>
            <p:cNvSpPr txBox="1">
              <a:spLocks noChangeArrowheads="1"/>
            </p:cNvSpPr>
            <p:nvPr/>
          </p:nvSpPr>
          <p:spPr bwMode="auto">
            <a:xfrm>
              <a:off x="3805" y="3123"/>
              <a:ext cx="785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5F5F5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GB" b="1">
                  <a:solidFill>
                    <a:srgbClr val="000000"/>
                  </a:solidFill>
                  <a:cs typeface="Arial" charset="0"/>
                </a:rPr>
                <a:t>Hospital</a:t>
              </a:r>
            </a:p>
          </p:txBody>
        </p:sp>
      </p:grpSp>
      <p:grpSp>
        <p:nvGrpSpPr>
          <p:cNvPr id="27655" name="Group 15"/>
          <p:cNvGrpSpPr>
            <a:grpSpLocks/>
          </p:cNvGrpSpPr>
          <p:nvPr/>
        </p:nvGrpSpPr>
        <p:grpSpPr bwMode="auto">
          <a:xfrm>
            <a:off x="2098675" y="3722688"/>
            <a:ext cx="1774825" cy="1508125"/>
            <a:chOff x="2428" y="3297"/>
            <a:chExt cx="1118" cy="950"/>
          </a:xfrm>
        </p:grpSpPr>
        <p:sp>
          <p:nvSpPr>
            <p:cNvPr id="27661" name="Freeform 16"/>
            <p:cNvSpPr>
              <a:spLocks/>
            </p:cNvSpPr>
            <p:nvPr/>
          </p:nvSpPr>
          <p:spPr bwMode="auto">
            <a:xfrm>
              <a:off x="2428" y="3297"/>
              <a:ext cx="1118" cy="950"/>
            </a:xfrm>
            <a:custGeom>
              <a:avLst/>
              <a:gdLst>
                <a:gd name="T0" fmla="*/ 352 w 1632"/>
                <a:gd name="T1" fmla="*/ 84 h 1386"/>
                <a:gd name="T2" fmla="*/ 358 w 1632"/>
                <a:gd name="T3" fmla="*/ 80 h 1386"/>
                <a:gd name="T4" fmla="*/ 360 w 1632"/>
                <a:gd name="T5" fmla="*/ 66 h 1386"/>
                <a:gd name="T6" fmla="*/ 352 w 1632"/>
                <a:gd name="T7" fmla="*/ 47 h 1386"/>
                <a:gd name="T8" fmla="*/ 346 w 1632"/>
                <a:gd name="T9" fmla="*/ 38 h 1386"/>
                <a:gd name="T10" fmla="*/ 332 w 1632"/>
                <a:gd name="T11" fmla="*/ 28 h 1386"/>
                <a:gd name="T12" fmla="*/ 325 w 1632"/>
                <a:gd name="T13" fmla="*/ 28 h 1386"/>
                <a:gd name="T14" fmla="*/ 318 w 1632"/>
                <a:gd name="T15" fmla="*/ 32 h 1386"/>
                <a:gd name="T16" fmla="*/ 316 w 1632"/>
                <a:gd name="T17" fmla="*/ 43 h 1386"/>
                <a:gd name="T18" fmla="*/ 313 w 1632"/>
                <a:gd name="T19" fmla="*/ 53 h 1386"/>
                <a:gd name="T20" fmla="*/ 308 w 1632"/>
                <a:gd name="T21" fmla="*/ 58 h 1386"/>
                <a:gd name="T22" fmla="*/ 303 w 1632"/>
                <a:gd name="T23" fmla="*/ 57 h 1386"/>
                <a:gd name="T24" fmla="*/ 264 w 1632"/>
                <a:gd name="T25" fmla="*/ 0 h 1386"/>
                <a:gd name="T26" fmla="*/ 196 w 1632"/>
                <a:gd name="T27" fmla="*/ 3 h 1386"/>
                <a:gd name="T28" fmla="*/ 190 w 1632"/>
                <a:gd name="T29" fmla="*/ 11 h 1386"/>
                <a:gd name="T30" fmla="*/ 192 w 1632"/>
                <a:gd name="T31" fmla="*/ 17 h 1386"/>
                <a:gd name="T32" fmla="*/ 202 w 1632"/>
                <a:gd name="T33" fmla="*/ 25 h 1386"/>
                <a:gd name="T34" fmla="*/ 208 w 1632"/>
                <a:gd name="T35" fmla="*/ 32 h 1386"/>
                <a:gd name="T36" fmla="*/ 207 w 1632"/>
                <a:gd name="T37" fmla="*/ 40 h 1386"/>
                <a:gd name="T38" fmla="*/ 201 w 1632"/>
                <a:gd name="T39" fmla="*/ 47 h 1386"/>
                <a:gd name="T40" fmla="*/ 181 w 1632"/>
                <a:gd name="T41" fmla="*/ 53 h 1386"/>
                <a:gd name="T42" fmla="*/ 167 w 1632"/>
                <a:gd name="T43" fmla="*/ 53 h 1386"/>
                <a:gd name="T44" fmla="*/ 150 w 1632"/>
                <a:gd name="T45" fmla="*/ 45 h 1386"/>
                <a:gd name="T46" fmla="*/ 145 w 1632"/>
                <a:gd name="T47" fmla="*/ 38 h 1386"/>
                <a:gd name="T48" fmla="*/ 145 w 1632"/>
                <a:gd name="T49" fmla="*/ 31 h 1386"/>
                <a:gd name="T50" fmla="*/ 153 w 1632"/>
                <a:gd name="T51" fmla="*/ 23 h 1386"/>
                <a:gd name="T52" fmla="*/ 161 w 1632"/>
                <a:gd name="T53" fmla="*/ 16 h 1386"/>
                <a:gd name="T54" fmla="*/ 162 w 1632"/>
                <a:gd name="T55" fmla="*/ 9 h 1386"/>
                <a:gd name="T56" fmla="*/ 151 w 1632"/>
                <a:gd name="T57" fmla="*/ 1 h 1386"/>
                <a:gd name="T58" fmla="*/ 54 w 1632"/>
                <a:gd name="T59" fmla="*/ 59 h 1386"/>
                <a:gd name="T60" fmla="*/ 53 w 1632"/>
                <a:gd name="T61" fmla="*/ 74 h 1386"/>
                <a:gd name="T62" fmla="*/ 58 w 1632"/>
                <a:gd name="T63" fmla="*/ 78 h 1386"/>
                <a:gd name="T64" fmla="*/ 68 w 1632"/>
                <a:gd name="T65" fmla="*/ 77 h 1386"/>
                <a:gd name="T66" fmla="*/ 79 w 1632"/>
                <a:gd name="T67" fmla="*/ 73 h 1386"/>
                <a:gd name="T68" fmla="*/ 86 w 1632"/>
                <a:gd name="T69" fmla="*/ 74 h 1386"/>
                <a:gd name="T70" fmla="*/ 92 w 1632"/>
                <a:gd name="T71" fmla="*/ 82 h 1386"/>
                <a:gd name="T72" fmla="*/ 92 w 1632"/>
                <a:gd name="T73" fmla="*/ 97 h 1386"/>
                <a:gd name="T74" fmla="*/ 86 w 1632"/>
                <a:gd name="T75" fmla="*/ 111 h 1386"/>
                <a:gd name="T76" fmla="*/ 73 w 1632"/>
                <a:gd name="T77" fmla="*/ 126 h 1386"/>
                <a:gd name="T78" fmla="*/ 60 w 1632"/>
                <a:gd name="T79" fmla="*/ 131 h 1386"/>
                <a:gd name="T80" fmla="*/ 54 w 1632"/>
                <a:gd name="T81" fmla="*/ 130 h 1386"/>
                <a:gd name="T82" fmla="*/ 49 w 1632"/>
                <a:gd name="T83" fmla="*/ 123 h 1386"/>
                <a:gd name="T84" fmla="*/ 47 w 1632"/>
                <a:gd name="T85" fmla="*/ 108 h 1386"/>
                <a:gd name="T86" fmla="*/ 42 w 1632"/>
                <a:gd name="T87" fmla="*/ 101 h 1386"/>
                <a:gd name="T88" fmla="*/ 36 w 1632"/>
                <a:gd name="T89" fmla="*/ 102 h 1386"/>
                <a:gd name="T90" fmla="*/ 1 w 1632"/>
                <a:gd name="T91" fmla="*/ 152 h 1386"/>
                <a:gd name="T92" fmla="*/ 264 w 1632"/>
                <a:gd name="T93" fmla="*/ 306 h 1386"/>
                <a:gd name="T94" fmla="*/ 321 w 1632"/>
                <a:gd name="T95" fmla="*/ 99 h 1386"/>
                <a:gd name="T96" fmla="*/ 321 w 1632"/>
                <a:gd name="T97" fmla="*/ 84 h 1386"/>
                <a:gd name="T98" fmla="*/ 326 w 1632"/>
                <a:gd name="T99" fmla="*/ 80 h 1386"/>
                <a:gd name="T100" fmla="*/ 334 w 1632"/>
                <a:gd name="T101" fmla="*/ 80 h 1386"/>
                <a:gd name="T102" fmla="*/ 347 w 1632"/>
                <a:gd name="T103" fmla="*/ 86 h 138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1632" h="1386">
                  <a:moveTo>
                    <a:pt x="1576" y="390"/>
                  </a:moveTo>
                  <a:lnTo>
                    <a:pt x="1576" y="390"/>
                  </a:lnTo>
                  <a:lnTo>
                    <a:pt x="1588" y="388"/>
                  </a:lnTo>
                  <a:lnTo>
                    <a:pt x="1602" y="382"/>
                  </a:lnTo>
                  <a:lnTo>
                    <a:pt x="1610" y="376"/>
                  </a:lnTo>
                  <a:lnTo>
                    <a:pt x="1618" y="368"/>
                  </a:lnTo>
                  <a:lnTo>
                    <a:pt x="1624" y="360"/>
                  </a:lnTo>
                  <a:lnTo>
                    <a:pt x="1628" y="350"/>
                  </a:lnTo>
                  <a:lnTo>
                    <a:pt x="1630" y="338"/>
                  </a:lnTo>
                  <a:lnTo>
                    <a:pt x="1632" y="328"/>
                  </a:lnTo>
                  <a:lnTo>
                    <a:pt x="1632" y="302"/>
                  </a:lnTo>
                  <a:lnTo>
                    <a:pt x="1626" y="278"/>
                  </a:lnTo>
                  <a:lnTo>
                    <a:pt x="1620" y="254"/>
                  </a:lnTo>
                  <a:lnTo>
                    <a:pt x="1612" y="234"/>
                  </a:lnTo>
                  <a:lnTo>
                    <a:pt x="1602" y="216"/>
                  </a:lnTo>
                  <a:lnTo>
                    <a:pt x="1594" y="202"/>
                  </a:lnTo>
                  <a:lnTo>
                    <a:pt x="1584" y="188"/>
                  </a:lnTo>
                  <a:lnTo>
                    <a:pt x="1570" y="172"/>
                  </a:lnTo>
                  <a:lnTo>
                    <a:pt x="1556" y="158"/>
                  </a:lnTo>
                  <a:lnTo>
                    <a:pt x="1540" y="146"/>
                  </a:lnTo>
                  <a:lnTo>
                    <a:pt x="1522" y="136"/>
                  </a:lnTo>
                  <a:lnTo>
                    <a:pt x="1504" y="128"/>
                  </a:lnTo>
                  <a:lnTo>
                    <a:pt x="1496" y="126"/>
                  </a:lnTo>
                  <a:lnTo>
                    <a:pt x="1486" y="126"/>
                  </a:lnTo>
                  <a:lnTo>
                    <a:pt x="1474" y="128"/>
                  </a:lnTo>
                  <a:lnTo>
                    <a:pt x="1460" y="134"/>
                  </a:lnTo>
                  <a:lnTo>
                    <a:pt x="1452" y="140"/>
                  </a:lnTo>
                  <a:lnTo>
                    <a:pt x="1444" y="148"/>
                  </a:lnTo>
                  <a:lnTo>
                    <a:pt x="1440" y="154"/>
                  </a:lnTo>
                  <a:lnTo>
                    <a:pt x="1436" y="162"/>
                  </a:lnTo>
                  <a:lnTo>
                    <a:pt x="1434" y="178"/>
                  </a:lnTo>
                  <a:lnTo>
                    <a:pt x="1434" y="196"/>
                  </a:lnTo>
                  <a:lnTo>
                    <a:pt x="1434" y="212"/>
                  </a:lnTo>
                  <a:lnTo>
                    <a:pt x="1432" y="228"/>
                  </a:lnTo>
                  <a:lnTo>
                    <a:pt x="1428" y="236"/>
                  </a:lnTo>
                  <a:lnTo>
                    <a:pt x="1422" y="244"/>
                  </a:lnTo>
                  <a:lnTo>
                    <a:pt x="1416" y="250"/>
                  </a:lnTo>
                  <a:lnTo>
                    <a:pt x="1406" y="258"/>
                  </a:lnTo>
                  <a:lnTo>
                    <a:pt x="1400" y="260"/>
                  </a:lnTo>
                  <a:lnTo>
                    <a:pt x="1392" y="260"/>
                  </a:lnTo>
                  <a:lnTo>
                    <a:pt x="1384" y="260"/>
                  </a:lnTo>
                  <a:lnTo>
                    <a:pt x="1376" y="258"/>
                  </a:lnTo>
                  <a:lnTo>
                    <a:pt x="1360" y="248"/>
                  </a:lnTo>
                  <a:lnTo>
                    <a:pt x="1344" y="236"/>
                  </a:lnTo>
                  <a:lnTo>
                    <a:pt x="1330" y="224"/>
                  </a:lnTo>
                  <a:lnTo>
                    <a:pt x="1200" y="0"/>
                  </a:lnTo>
                  <a:lnTo>
                    <a:pt x="936" y="0"/>
                  </a:lnTo>
                  <a:lnTo>
                    <a:pt x="914" y="8"/>
                  </a:lnTo>
                  <a:lnTo>
                    <a:pt x="890" y="18"/>
                  </a:lnTo>
                  <a:lnTo>
                    <a:pt x="880" y="24"/>
                  </a:lnTo>
                  <a:lnTo>
                    <a:pt x="872" y="32"/>
                  </a:lnTo>
                  <a:lnTo>
                    <a:pt x="866" y="40"/>
                  </a:lnTo>
                  <a:lnTo>
                    <a:pt x="864" y="48"/>
                  </a:lnTo>
                  <a:lnTo>
                    <a:pt x="866" y="60"/>
                  </a:lnTo>
                  <a:lnTo>
                    <a:pt x="868" y="70"/>
                  </a:lnTo>
                  <a:lnTo>
                    <a:pt x="872" y="78"/>
                  </a:lnTo>
                  <a:lnTo>
                    <a:pt x="876" y="84"/>
                  </a:lnTo>
                  <a:lnTo>
                    <a:pt x="890" y="96"/>
                  </a:lnTo>
                  <a:lnTo>
                    <a:pt x="904" y="104"/>
                  </a:lnTo>
                  <a:lnTo>
                    <a:pt x="918" y="112"/>
                  </a:lnTo>
                  <a:lnTo>
                    <a:pt x="932" y="122"/>
                  </a:lnTo>
                  <a:lnTo>
                    <a:pt x="936" y="130"/>
                  </a:lnTo>
                  <a:lnTo>
                    <a:pt x="940" y="138"/>
                  </a:lnTo>
                  <a:lnTo>
                    <a:pt x="944" y="146"/>
                  </a:lnTo>
                  <a:lnTo>
                    <a:pt x="944" y="158"/>
                  </a:lnTo>
                  <a:lnTo>
                    <a:pt x="944" y="170"/>
                  </a:lnTo>
                  <a:lnTo>
                    <a:pt x="940" y="180"/>
                  </a:lnTo>
                  <a:lnTo>
                    <a:pt x="936" y="190"/>
                  </a:lnTo>
                  <a:lnTo>
                    <a:pt x="928" y="198"/>
                  </a:lnTo>
                  <a:lnTo>
                    <a:pt x="920" y="206"/>
                  </a:lnTo>
                  <a:lnTo>
                    <a:pt x="912" y="212"/>
                  </a:lnTo>
                  <a:lnTo>
                    <a:pt x="890" y="224"/>
                  </a:lnTo>
                  <a:lnTo>
                    <a:pt x="866" y="232"/>
                  </a:lnTo>
                  <a:lnTo>
                    <a:pt x="842" y="238"/>
                  </a:lnTo>
                  <a:lnTo>
                    <a:pt x="820" y="242"/>
                  </a:lnTo>
                  <a:lnTo>
                    <a:pt x="800" y="242"/>
                  </a:lnTo>
                  <a:lnTo>
                    <a:pt x="782" y="242"/>
                  </a:lnTo>
                  <a:lnTo>
                    <a:pt x="758" y="238"/>
                  </a:lnTo>
                  <a:lnTo>
                    <a:pt x="734" y="232"/>
                  </a:lnTo>
                  <a:lnTo>
                    <a:pt x="710" y="224"/>
                  </a:lnTo>
                  <a:lnTo>
                    <a:pt x="690" y="212"/>
                  </a:lnTo>
                  <a:lnTo>
                    <a:pt x="680" y="206"/>
                  </a:lnTo>
                  <a:lnTo>
                    <a:pt x="672" y="198"/>
                  </a:lnTo>
                  <a:lnTo>
                    <a:pt x="666" y="190"/>
                  </a:lnTo>
                  <a:lnTo>
                    <a:pt x="660" y="180"/>
                  </a:lnTo>
                  <a:lnTo>
                    <a:pt x="658" y="170"/>
                  </a:lnTo>
                  <a:lnTo>
                    <a:pt x="656" y="158"/>
                  </a:lnTo>
                  <a:lnTo>
                    <a:pt x="658" y="146"/>
                  </a:lnTo>
                  <a:lnTo>
                    <a:pt x="660" y="138"/>
                  </a:lnTo>
                  <a:lnTo>
                    <a:pt x="664" y="130"/>
                  </a:lnTo>
                  <a:lnTo>
                    <a:pt x="670" y="122"/>
                  </a:lnTo>
                  <a:lnTo>
                    <a:pt x="682" y="112"/>
                  </a:lnTo>
                  <a:lnTo>
                    <a:pt x="696" y="104"/>
                  </a:lnTo>
                  <a:lnTo>
                    <a:pt x="712" y="96"/>
                  </a:lnTo>
                  <a:lnTo>
                    <a:pt x="724" y="84"/>
                  </a:lnTo>
                  <a:lnTo>
                    <a:pt x="730" y="78"/>
                  </a:lnTo>
                  <a:lnTo>
                    <a:pt x="732" y="70"/>
                  </a:lnTo>
                  <a:lnTo>
                    <a:pt x="736" y="60"/>
                  </a:lnTo>
                  <a:lnTo>
                    <a:pt x="736" y="48"/>
                  </a:lnTo>
                  <a:lnTo>
                    <a:pt x="734" y="40"/>
                  </a:lnTo>
                  <a:lnTo>
                    <a:pt x="728" y="32"/>
                  </a:lnTo>
                  <a:lnTo>
                    <a:pt x="720" y="24"/>
                  </a:lnTo>
                  <a:lnTo>
                    <a:pt x="710" y="18"/>
                  </a:lnTo>
                  <a:lnTo>
                    <a:pt x="688" y="8"/>
                  </a:lnTo>
                  <a:lnTo>
                    <a:pt x="666" y="0"/>
                  </a:lnTo>
                  <a:lnTo>
                    <a:pt x="402" y="0"/>
                  </a:lnTo>
                  <a:lnTo>
                    <a:pt x="248" y="268"/>
                  </a:lnTo>
                  <a:lnTo>
                    <a:pt x="242" y="290"/>
                  </a:lnTo>
                  <a:lnTo>
                    <a:pt x="240" y="314"/>
                  </a:lnTo>
                  <a:lnTo>
                    <a:pt x="240" y="326"/>
                  </a:lnTo>
                  <a:lnTo>
                    <a:pt x="242" y="336"/>
                  </a:lnTo>
                  <a:lnTo>
                    <a:pt x="248" y="344"/>
                  </a:lnTo>
                  <a:lnTo>
                    <a:pt x="254" y="350"/>
                  </a:lnTo>
                  <a:lnTo>
                    <a:pt x="264" y="356"/>
                  </a:lnTo>
                  <a:lnTo>
                    <a:pt x="274" y="358"/>
                  </a:lnTo>
                  <a:lnTo>
                    <a:pt x="284" y="358"/>
                  </a:lnTo>
                  <a:lnTo>
                    <a:pt x="292" y="358"/>
                  </a:lnTo>
                  <a:lnTo>
                    <a:pt x="308" y="352"/>
                  </a:lnTo>
                  <a:lnTo>
                    <a:pt x="322" y="344"/>
                  </a:lnTo>
                  <a:lnTo>
                    <a:pt x="336" y="336"/>
                  </a:lnTo>
                  <a:lnTo>
                    <a:pt x="352" y="330"/>
                  </a:lnTo>
                  <a:lnTo>
                    <a:pt x="360" y="328"/>
                  </a:lnTo>
                  <a:lnTo>
                    <a:pt x="370" y="328"/>
                  </a:lnTo>
                  <a:lnTo>
                    <a:pt x="378" y="332"/>
                  </a:lnTo>
                  <a:lnTo>
                    <a:pt x="390" y="336"/>
                  </a:lnTo>
                  <a:lnTo>
                    <a:pt x="398" y="342"/>
                  </a:lnTo>
                  <a:lnTo>
                    <a:pt x="406" y="350"/>
                  </a:lnTo>
                  <a:lnTo>
                    <a:pt x="412" y="358"/>
                  </a:lnTo>
                  <a:lnTo>
                    <a:pt x="416" y="368"/>
                  </a:lnTo>
                  <a:lnTo>
                    <a:pt x="418" y="380"/>
                  </a:lnTo>
                  <a:lnTo>
                    <a:pt x="420" y="392"/>
                  </a:lnTo>
                  <a:lnTo>
                    <a:pt x="418" y="416"/>
                  </a:lnTo>
                  <a:lnTo>
                    <a:pt x="414" y="440"/>
                  </a:lnTo>
                  <a:lnTo>
                    <a:pt x="408" y="464"/>
                  </a:lnTo>
                  <a:lnTo>
                    <a:pt x="400" y="486"/>
                  </a:lnTo>
                  <a:lnTo>
                    <a:pt x="390" y="502"/>
                  </a:lnTo>
                  <a:lnTo>
                    <a:pt x="380" y="518"/>
                  </a:lnTo>
                  <a:lnTo>
                    <a:pt x="366" y="536"/>
                  </a:lnTo>
                  <a:lnTo>
                    <a:pt x="348" y="554"/>
                  </a:lnTo>
                  <a:lnTo>
                    <a:pt x="330" y="570"/>
                  </a:lnTo>
                  <a:lnTo>
                    <a:pt x="308" y="584"/>
                  </a:lnTo>
                  <a:lnTo>
                    <a:pt x="298" y="588"/>
                  </a:lnTo>
                  <a:lnTo>
                    <a:pt x="288" y="592"/>
                  </a:lnTo>
                  <a:lnTo>
                    <a:pt x="276" y="592"/>
                  </a:lnTo>
                  <a:lnTo>
                    <a:pt x="266" y="592"/>
                  </a:lnTo>
                  <a:lnTo>
                    <a:pt x="256" y="590"/>
                  </a:lnTo>
                  <a:lnTo>
                    <a:pt x="246" y="586"/>
                  </a:lnTo>
                  <a:lnTo>
                    <a:pt x="236" y="578"/>
                  </a:lnTo>
                  <a:lnTo>
                    <a:pt x="230" y="572"/>
                  </a:lnTo>
                  <a:lnTo>
                    <a:pt x="224" y="564"/>
                  </a:lnTo>
                  <a:lnTo>
                    <a:pt x="222" y="556"/>
                  </a:lnTo>
                  <a:lnTo>
                    <a:pt x="218" y="540"/>
                  </a:lnTo>
                  <a:lnTo>
                    <a:pt x="218" y="522"/>
                  </a:lnTo>
                  <a:lnTo>
                    <a:pt x="218" y="506"/>
                  </a:lnTo>
                  <a:lnTo>
                    <a:pt x="216" y="490"/>
                  </a:lnTo>
                  <a:lnTo>
                    <a:pt x="212" y="482"/>
                  </a:lnTo>
                  <a:lnTo>
                    <a:pt x="206" y="474"/>
                  </a:lnTo>
                  <a:lnTo>
                    <a:pt x="200" y="468"/>
                  </a:lnTo>
                  <a:lnTo>
                    <a:pt x="190" y="460"/>
                  </a:lnTo>
                  <a:lnTo>
                    <a:pt x="182" y="458"/>
                  </a:lnTo>
                  <a:lnTo>
                    <a:pt x="172" y="458"/>
                  </a:lnTo>
                  <a:lnTo>
                    <a:pt x="162" y="462"/>
                  </a:lnTo>
                  <a:lnTo>
                    <a:pt x="152" y="466"/>
                  </a:lnTo>
                  <a:lnTo>
                    <a:pt x="132" y="480"/>
                  </a:lnTo>
                  <a:lnTo>
                    <a:pt x="116" y="496"/>
                  </a:lnTo>
                  <a:lnTo>
                    <a:pt x="4" y="688"/>
                  </a:lnTo>
                  <a:lnTo>
                    <a:pt x="2" y="688"/>
                  </a:lnTo>
                  <a:lnTo>
                    <a:pt x="0" y="694"/>
                  </a:lnTo>
                  <a:lnTo>
                    <a:pt x="400" y="1386"/>
                  </a:lnTo>
                  <a:lnTo>
                    <a:pt x="1200" y="1386"/>
                  </a:lnTo>
                  <a:lnTo>
                    <a:pt x="1600" y="694"/>
                  </a:lnTo>
                  <a:lnTo>
                    <a:pt x="1598" y="688"/>
                  </a:lnTo>
                  <a:lnTo>
                    <a:pt x="1458" y="448"/>
                  </a:lnTo>
                  <a:lnTo>
                    <a:pt x="1454" y="426"/>
                  </a:lnTo>
                  <a:lnTo>
                    <a:pt x="1452" y="402"/>
                  </a:lnTo>
                  <a:lnTo>
                    <a:pt x="1454" y="392"/>
                  </a:lnTo>
                  <a:lnTo>
                    <a:pt x="1456" y="382"/>
                  </a:lnTo>
                  <a:lnTo>
                    <a:pt x="1460" y="374"/>
                  </a:lnTo>
                  <a:lnTo>
                    <a:pt x="1466" y="368"/>
                  </a:lnTo>
                  <a:lnTo>
                    <a:pt x="1482" y="362"/>
                  </a:lnTo>
                  <a:lnTo>
                    <a:pt x="1496" y="360"/>
                  </a:lnTo>
                  <a:lnTo>
                    <a:pt x="1508" y="360"/>
                  </a:lnTo>
                  <a:lnTo>
                    <a:pt x="1518" y="364"/>
                  </a:lnTo>
                  <a:lnTo>
                    <a:pt x="1536" y="374"/>
                  </a:lnTo>
                  <a:lnTo>
                    <a:pt x="1556" y="384"/>
                  </a:lnTo>
                  <a:lnTo>
                    <a:pt x="1566" y="388"/>
                  </a:lnTo>
                  <a:lnTo>
                    <a:pt x="1576" y="390"/>
                  </a:lnTo>
                  <a:close/>
                </a:path>
              </a:pathLst>
            </a:custGeom>
            <a:solidFill>
              <a:srgbClr val="EF43AF"/>
            </a:solidFill>
            <a:ln w="38100" cap="flat" cmpd="sng">
              <a:solidFill>
                <a:srgbClr val="5F5F5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E"/>
            </a:p>
          </p:txBody>
        </p:sp>
        <p:sp>
          <p:nvSpPr>
            <p:cNvPr id="27662" name="Text Box 17"/>
            <p:cNvSpPr txBox="1">
              <a:spLocks noChangeArrowheads="1"/>
            </p:cNvSpPr>
            <p:nvPr/>
          </p:nvSpPr>
          <p:spPr bwMode="auto">
            <a:xfrm>
              <a:off x="2617" y="3585"/>
              <a:ext cx="785" cy="4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5F5F5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GB" b="1">
                  <a:solidFill>
                    <a:srgbClr val="000000"/>
                  </a:solidFill>
                  <a:cs typeface="Arial" charset="0"/>
                </a:rPr>
                <a:t>Patient Home</a:t>
              </a:r>
            </a:p>
          </p:txBody>
        </p:sp>
      </p:grpSp>
      <p:grpSp>
        <p:nvGrpSpPr>
          <p:cNvPr id="27656" name="Group 18"/>
          <p:cNvGrpSpPr>
            <a:grpSpLocks/>
          </p:cNvGrpSpPr>
          <p:nvPr/>
        </p:nvGrpSpPr>
        <p:grpSpPr bwMode="auto">
          <a:xfrm>
            <a:off x="4926013" y="3560763"/>
            <a:ext cx="1757362" cy="1760537"/>
            <a:chOff x="1303" y="2591"/>
            <a:chExt cx="1107" cy="1109"/>
          </a:xfrm>
        </p:grpSpPr>
        <p:sp>
          <p:nvSpPr>
            <p:cNvPr id="27659" name="Freeform 19"/>
            <p:cNvSpPr>
              <a:spLocks/>
            </p:cNvSpPr>
            <p:nvPr/>
          </p:nvSpPr>
          <p:spPr bwMode="auto">
            <a:xfrm>
              <a:off x="1303" y="2591"/>
              <a:ext cx="1107" cy="1109"/>
            </a:xfrm>
            <a:custGeom>
              <a:avLst/>
              <a:gdLst>
                <a:gd name="T0" fmla="*/ 299 w 1616"/>
                <a:gd name="T1" fmla="*/ 307 h 1618"/>
                <a:gd name="T2" fmla="*/ 308 w 1616"/>
                <a:gd name="T3" fmla="*/ 308 h 1618"/>
                <a:gd name="T4" fmla="*/ 312 w 1616"/>
                <a:gd name="T5" fmla="*/ 320 h 1618"/>
                <a:gd name="T6" fmla="*/ 315 w 1616"/>
                <a:gd name="T7" fmla="*/ 333 h 1618"/>
                <a:gd name="T8" fmla="*/ 324 w 1616"/>
                <a:gd name="T9" fmla="*/ 336 h 1618"/>
                <a:gd name="T10" fmla="*/ 340 w 1616"/>
                <a:gd name="T11" fmla="*/ 328 h 1618"/>
                <a:gd name="T12" fmla="*/ 351 w 1616"/>
                <a:gd name="T13" fmla="*/ 313 h 1618"/>
                <a:gd name="T14" fmla="*/ 356 w 1616"/>
                <a:gd name="T15" fmla="*/ 289 h 1618"/>
                <a:gd name="T16" fmla="*/ 349 w 1616"/>
                <a:gd name="T17" fmla="*/ 280 h 1618"/>
                <a:gd name="T18" fmla="*/ 340 w 1616"/>
                <a:gd name="T19" fmla="*/ 278 h 1618"/>
                <a:gd name="T20" fmla="*/ 326 w 1616"/>
                <a:gd name="T21" fmla="*/ 284 h 1618"/>
                <a:gd name="T22" fmla="*/ 318 w 1616"/>
                <a:gd name="T23" fmla="*/ 281 h 1618"/>
                <a:gd name="T24" fmla="*/ 318 w 1616"/>
                <a:gd name="T25" fmla="*/ 265 h 1618"/>
                <a:gd name="T26" fmla="*/ 322 w 1616"/>
                <a:gd name="T27" fmla="*/ 153 h 1618"/>
                <a:gd name="T28" fmla="*/ 307 w 1616"/>
                <a:gd name="T29" fmla="*/ 144 h 1618"/>
                <a:gd name="T30" fmla="*/ 300 w 1616"/>
                <a:gd name="T31" fmla="*/ 150 h 1618"/>
                <a:gd name="T32" fmla="*/ 299 w 1616"/>
                <a:gd name="T33" fmla="*/ 166 h 1618"/>
                <a:gd name="T34" fmla="*/ 293 w 1616"/>
                <a:gd name="T35" fmla="*/ 173 h 1618"/>
                <a:gd name="T36" fmla="*/ 281 w 1616"/>
                <a:gd name="T37" fmla="*/ 173 h 1618"/>
                <a:gd name="T38" fmla="*/ 263 w 1616"/>
                <a:gd name="T39" fmla="*/ 158 h 1618"/>
                <a:gd name="T40" fmla="*/ 256 w 1616"/>
                <a:gd name="T41" fmla="*/ 141 h 1618"/>
                <a:gd name="T42" fmla="*/ 256 w 1616"/>
                <a:gd name="T43" fmla="*/ 123 h 1618"/>
                <a:gd name="T44" fmla="*/ 264 w 1616"/>
                <a:gd name="T45" fmla="*/ 117 h 1618"/>
                <a:gd name="T46" fmla="*/ 276 w 1616"/>
                <a:gd name="T47" fmla="*/ 119 h 1618"/>
                <a:gd name="T48" fmla="*/ 289 w 1616"/>
                <a:gd name="T49" fmla="*/ 122 h 1618"/>
                <a:gd name="T50" fmla="*/ 295 w 1616"/>
                <a:gd name="T51" fmla="*/ 115 h 1618"/>
                <a:gd name="T52" fmla="*/ 264 w 1616"/>
                <a:gd name="T53" fmla="*/ 53 h 1618"/>
                <a:gd name="T54" fmla="*/ 199 w 1616"/>
                <a:gd name="T55" fmla="*/ 51 h 1618"/>
                <a:gd name="T56" fmla="*/ 197 w 1616"/>
                <a:gd name="T57" fmla="*/ 50 h 1618"/>
                <a:gd name="T58" fmla="*/ 196 w 1616"/>
                <a:gd name="T59" fmla="*/ 50 h 1618"/>
                <a:gd name="T60" fmla="*/ 195 w 1616"/>
                <a:gd name="T61" fmla="*/ 49 h 1618"/>
                <a:gd name="T62" fmla="*/ 194 w 1616"/>
                <a:gd name="T63" fmla="*/ 47 h 1618"/>
                <a:gd name="T64" fmla="*/ 193 w 1616"/>
                <a:gd name="T65" fmla="*/ 47 h 1618"/>
                <a:gd name="T66" fmla="*/ 192 w 1616"/>
                <a:gd name="T67" fmla="*/ 46 h 1618"/>
                <a:gd name="T68" fmla="*/ 192 w 1616"/>
                <a:gd name="T69" fmla="*/ 45 h 1618"/>
                <a:gd name="T70" fmla="*/ 191 w 1616"/>
                <a:gd name="T71" fmla="*/ 44 h 1618"/>
                <a:gd name="T72" fmla="*/ 191 w 1616"/>
                <a:gd name="T73" fmla="*/ 42 h 1618"/>
                <a:gd name="T74" fmla="*/ 191 w 1616"/>
                <a:gd name="T75" fmla="*/ 42 h 1618"/>
                <a:gd name="T76" fmla="*/ 197 w 1616"/>
                <a:gd name="T77" fmla="*/ 32 h 1618"/>
                <a:gd name="T78" fmla="*/ 208 w 1616"/>
                <a:gd name="T79" fmla="*/ 23 h 1618"/>
                <a:gd name="T80" fmla="*/ 208 w 1616"/>
                <a:gd name="T81" fmla="*/ 14 h 1618"/>
                <a:gd name="T82" fmla="*/ 197 w 1616"/>
                <a:gd name="T83" fmla="*/ 3 h 1618"/>
                <a:gd name="T84" fmla="*/ 177 w 1616"/>
                <a:gd name="T85" fmla="*/ 0 h 1618"/>
                <a:gd name="T86" fmla="*/ 153 w 1616"/>
                <a:gd name="T87" fmla="*/ 7 h 1618"/>
                <a:gd name="T88" fmla="*/ 145 w 1616"/>
                <a:gd name="T89" fmla="*/ 16 h 1618"/>
                <a:gd name="T90" fmla="*/ 147 w 1616"/>
                <a:gd name="T91" fmla="*/ 25 h 1618"/>
                <a:gd name="T92" fmla="*/ 160 w 1616"/>
                <a:gd name="T93" fmla="*/ 35 h 1618"/>
                <a:gd name="T94" fmla="*/ 163 w 1616"/>
                <a:gd name="T95" fmla="*/ 42 h 1618"/>
                <a:gd name="T96" fmla="*/ 163 w 1616"/>
                <a:gd name="T97" fmla="*/ 42 h 1618"/>
                <a:gd name="T98" fmla="*/ 163 w 1616"/>
                <a:gd name="T99" fmla="*/ 45 h 1618"/>
                <a:gd name="T100" fmla="*/ 163 w 1616"/>
                <a:gd name="T101" fmla="*/ 45 h 1618"/>
                <a:gd name="T102" fmla="*/ 162 w 1616"/>
                <a:gd name="T103" fmla="*/ 47 h 1618"/>
                <a:gd name="T104" fmla="*/ 161 w 1616"/>
                <a:gd name="T105" fmla="*/ 47 h 1618"/>
                <a:gd name="T106" fmla="*/ 160 w 1616"/>
                <a:gd name="T107" fmla="*/ 48 h 1618"/>
                <a:gd name="T108" fmla="*/ 159 w 1616"/>
                <a:gd name="T109" fmla="*/ 49 h 1618"/>
                <a:gd name="T110" fmla="*/ 158 w 1616"/>
                <a:gd name="T111" fmla="*/ 50 h 1618"/>
                <a:gd name="T112" fmla="*/ 157 w 1616"/>
                <a:gd name="T113" fmla="*/ 50 h 1618"/>
                <a:gd name="T114" fmla="*/ 156 w 1616"/>
                <a:gd name="T115" fmla="*/ 51 h 1618"/>
                <a:gd name="T116" fmla="*/ 0 w 1616"/>
                <a:gd name="T117" fmla="*/ 204 h 161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16" h="1618">
                  <a:moveTo>
                    <a:pt x="1312" y="1426"/>
                  </a:moveTo>
                  <a:lnTo>
                    <a:pt x="1312" y="1426"/>
                  </a:lnTo>
                  <a:lnTo>
                    <a:pt x="1328" y="1410"/>
                  </a:lnTo>
                  <a:lnTo>
                    <a:pt x="1348" y="1396"/>
                  </a:lnTo>
                  <a:lnTo>
                    <a:pt x="1358" y="1392"/>
                  </a:lnTo>
                  <a:lnTo>
                    <a:pt x="1368" y="1388"/>
                  </a:lnTo>
                  <a:lnTo>
                    <a:pt x="1378" y="1388"/>
                  </a:lnTo>
                  <a:lnTo>
                    <a:pt x="1386" y="1390"/>
                  </a:lnTo>
                  <a:lnTo>
                    <a:pt x="1396" y="1398"/>
                  </a:lnTo>
                  <a:lnTo>
                    <a:pt x="1402" y="1404"/>
                  </a:lnTo>
                  <a:lnTo>
                    <a:pt x="1408" y="1412"/>
                  </a:lnTo>
                  <a:lnTo>
                    <a:pt x="1412" y="1420"/>
                  </a:lnTo>
                  <a:lnTo>
                    <a:pt x="1414" y="1436"/>
                  </a:lnTo>
                  <a:lnTo>
                    <a:pt x="1414" y="1452"/>
                  </a:lnTo>
                  <a:lnTo>
                    <a:pt x="1414" y="1470"/>
                  </a:lnTo>
                  <a:lnTo>
                    <a:pt x="1418" y="1486"/>
                  </a:lnTo>
                  <a:lnTo>
                    <a:pt x="1420" y="1494"/>
                  </a:lnTo>
                  <a:lnTo>
                    <a:pt x="1426" y="1502"/>
                  </a:lnTo>
                  <a:lnTo>
                    <a:pt x="1432" y="1508"/>
                  </a:lnTo>
                  <a:lnTo>
                    <a:pt x="1442" y="1516"/>
                  </a:lnTo>
                  <a:lnTo>
                    <a:pt x="1452" y="1520"/>
                  </a:lnTo>
                  <a:lnTo>
                    <a:pt x="1462" y="1522"/>
                  </a:lnTo>
                  <a:lnTo>
                    <a:pt x="1472" y="1522"/>
                  </a:lnTo>
                  <a:lnTo>
                    <a:pt x="1484" y="1522"/>
                  </a:lnTo>
                  <a:lnTo>
                    <a:pt x="1494" y="1518"/>
                  </a:lnTo>
                  <a:lnTo>
                    <a:pt x="1504" y="1514"/>
                  </a:lnTo>
                  <a:lnTo>
                    <a:pt x="1526" y="1500"/>
                  </a:lnTo>
                  <a:lnTo>
                    <a:pt x="1544" y="1484"/>
                  </a:lnTo>
                  <a:lnTo>
                    <a:pt x="1562" y="1466"/>
                  </a:lnTo>
                  <a:lnTo>
                    <a:pt x="1576" y="1448"/>
                  </a:lnTo>
                  <a:lnTo>
                    <a:pt x="1586" y="1432"/>
                  </a:lnTo>
                  <a:lnTo>
                    <a:pt x="1596" y="1416"/>
                  </a:lnTo>
                  <a:lnTo>
                    <a:pt x="1604" y="1394"/>
                  </a:lnTo>
                  <a:lnTo>
                    <a:pt x="1610" y="1370"/>
                  </a:lnTo>
                  <a:lnTo>
                    <a:pt x="1614" y="1346"/>
                  </a:lnTo>
                  <a:lnTo>
                    <a:pt x="1616" y="1322"/>
                  </a:lnTo>
                  <a:lnTo>
                    <a:pt x="1614" y="1310"/>
                  </a:lnTo>
                  <a:lnTo>
                    <a:pt x="1612" y="1298"/>
                  </a:lnTo>
                  <a:lnTo>
                    <a:pt x="1608" y="1288"/>
                  </a:lnTo>
                  <a:lnTo>
                    <a:pt x="1602" y="1280"/>
                  </a:lnTo>
                  <a:lnTo>
                    <a:pt x="1594" y="1272"/>
                  </a:lnTo>
                  <a:lnTo>
                    <a:pt x="1586" y="1266"/>
                  </a:lnTo>
                  <a:lnTo>
                    <a:pt x="1574" y="1262"/>
                  </a:lnTo>
                  <a:lnTo>
                    <a:pt x="1566" y="1258"/>
                  </a:lnTo>
                  <a:lnTo>
                    <a:pt x="1556" y="1258"/>
                  </a:lnTo>
                  <a:lnTo>
                    <a:pt x="1548" y="1260"/>
                  </a:lnTo>
                  <a:lnTo>
                    <a:pt x="1532" y="1266"/>
                  </a:lnTo>
                  <a:lnTo>
                    <a:pt x="1518" y="1274"/>
                  </a:lnTo>
                  <a:lnTo>
                    <a:pt x="1504" y="1282"/>
                  </a:lnTo>
                  <a:lnTo>
                    <a:pt x="1488" y="1288"/>
                  </a:lnTo>
                  <a:lnTo>
                    <a:pt x="1480" y="1288"/>
                  </a:lnTo>
                  <a:lnTo>
                    <a:pt x="1470" y="1288"/>
                  </a:lnTo>
                  <a:lnTo>
                    <a:pt x="1460" y="1286"/>
                  </a:lnTo>
                  <a:lnTo>
                    <a:pt x="1450" y="1280"/>
                  </a:lnTo>
                  <a:lnTo>
                    <a:pt x="1444" y="1274"/>
                  </a:lnTo>
                  <a:lnTo>
                    <a:pt x="1438" y="1266"/>
                  </a:lnTo>
                  <a:lnTo>
                    <a:pt x="1436" y="1256"/>
                  </a:lnTo>
                  <a:lnTo>
                    <a:pt x="1436" y="1244"/>
                  </a:lnTo>
                  <a:lnTo>
                    <a:pt x="1438" y="1220"/>
                  </a:lnTo>
                  <a:lnTo>
                    <a:pt x="1444" y="1198"/>
                  </a:lnTo>
                  <a:lnTo>
                    <a:pt x="1598" y="930"/>
                  </a:lnTo>
                  <a:lnTo>
                    <a:pt x="1600" y="926"/>
                  </a:lnTo>
                  <a:lnTo>
                    <a:pt x="1596" y="926"/>
                  </a:lnTo>
                  <a:lnTo>
                    <a:pt x="1462" y="694"/>
                  </a:lnTo>
                  <a:lnTo>
                    <a:pt x="1446" y="678"/>
                  </a:lnTo>
                  <a:lnTo>
                    <a:pt x="1426" y="664"/>
                  </a:lnTo>
                  <a:lnTo>
                    <a:pt x="1414" y="658"/>
                  </a:lnTo>
                  <a:lnTo>
                    <a:pt x="1404" y="656"/>
                  </a:lnTo>
                  <a:lnTo>
                    <a:pt x="1394" y="654"/>
                  </a:lnTo>
                  <a:lnTo>
                    <a:pt x="1386" y="658"/>
                  </a:lnTo>
                  <a:lnTo>
                    <a:pt x="1376" y="664"/>
                  </a:lnTo>
                  <a:lnTo>
                    <a:pt x="1368" y="672"/>
                  </a:lnTo>
                  <a:lnTo>
                    <a:pt x="1364" y="678"/>
                  </a:lnTo>
                  <a:lnTo>
                    <a:pt x="1360" y="686"/>
                  </a:lnTo>
                  <a:lnTo>
                    <a:pt x="1358" y="702"/>
                  </a:lnTo>
                  <a:lnTo>
                    <a:pt x="1358" y="720"/>
                  </a:lnTo>
                  <a:lnTo>
                    <a:pt x="1358" y="736"/>
                  </a:lnTo>
                  <a:lnTo>
                    <a:pt x="1354" y="752"/>
                  </a:lnTo>
                  <a:lnTo>
                    <a:pt x="1352" y="760"/>
                  </a:lnTo>
                  <a:lnTo>
                    <a:pt x="1346" y="768"/>
                  </a:lnTo>
                  <a:lnTo>
                    <a:pt x="1340" y="776"/>
                  </a:lnTo>
                  <a:lnTo>
                    <a:pt x="1330" y="782"/>
                  </a:lnTo>
                  <a:lnTo>
                    <a:pt x="1320" y="786"/>
                  </a:lnTo>
                  <a:lnTo>
                    <a:pt x="1310" y="790"/>
                  </a:lnTo>
                  <a:lnTo>
                    <a:pt x="1300" y="790"/>
                  </a:lnTo>
                  <a:lnTo>
                    <a:pt x="1288" y="788"/>
                  </a:lnTo>
                  <a:lnTo>
                    <a:pt x="1278" y="784"/>
                  </a:lnTo>
                  <a:lnTo>
                    <a:pt x="1268" y="780"/>
                  </a:lnTo>
                  <a:lnTo>
                    <a:pt x="1246" y="768"/>
                  </a:lnTo>
                  <a:lnTo>
                    <a:pt x="1228" y="752"/>
                  </a:lnTo>
                  <a:lnTo>
                    <a:pt x="1210" y="734"/>
                  </a:lnTo>
                  <a:lnTo>
                    <a:pt x="1196" y="716"/>
                  </a:lnTo>
                  <a:lnTo>
                    <a:pt x="1186" y="700"/>
                  </a:lnTo>
                  <a:lnTo>
                    <a:pt x="1176" y="682"/>
                  </a:lnTo>
                  <a:lnTo>
                    <a:pt x="1168" y="660"/>
                  </a:lnTo>
                  <a:lnTo>
                    <a:pt x="1162" y="638"/>
                  </a:lnTo>
                  <a:lnTo>
                    <a:pt x="1156" y="612"/>
                  </a:lnTo>
                  <a:lnTo>
                    <a:pt x="1156" y="588"/>
                  </a:lnTo>
                  <a:lnTo>
                    <a:pt x="1158" y="576"/>
                  </a:lnTo>
                  <a:lnTo>
                    <a:pt x="1160" y="566"/>
                  </a:lnTo>
                  <a:lnTo>
                    <a:pt x="1164" y="556"/>
                  </a:lnTo>
                  <a:lnTo>
                    <a:pt x="1170" y="546"/>
                  </a:lnTo>
                  <a:lnTo>
                    <a:pt x="1178" y="538"/>
                  </a:lnTo>
                  <a:lnTo>
                    <a:pt x="1186" y="532"/>
                  </a:lnTo>
                  <a:lnTo>
                    <a:pt x="1198" y="528"/>
                  </a:lnTo>
                  <a:lnTo>
                    <a:pt x="1206" y="526"/>
                  </a:lnTo>
                  <a:lnTo>
                    <a:pt x="1216" y="524"/>
                  </a:lnTo>
                  <a:lnTo>
                    <a:pt x="1224" y="526"/>
                  </a:lnTo>
                  <a:lnTo>
                    <a:pt x="1240" y="532"/>
                  </a:lnTo>
                  <a:lnTo>
                    <a:pt x="1254" y="540"/>
                  </a:lnTo>
                  <a:lnTo>
                    <a:pt x="1268" y="548"/>
                  </a:lnTo>
                  <a:lnTo>
                    <a:pt x="1284" y="554"/>
                  </a:lnTo>
                  <a:lnTo>
                    <a:pt x="1292" y="556"/>
                  </a:lnTo>
                  <a:lnTo>
                    <a:pt x="1302" y="554"/>
                  </a:lnTo>
                  <a:lnTo>
                    <a:pt x="1312" y="552"/>
                  </a:lnTo>
                  <a:lnTo>
                    <a:pt x="1322" y="546"/>
                  </a:lnTo>
                  <a:lnTo>
                    <a:pt x="1328" y="540"/>
                  </a:lnTo>
                  <a:lnTo>
                    <a:pt x="1334" y="532"/>
                  </a:lnTo>
                  <a:lnTo>
                    <a:pt x="1336" y="522"/>
                  </a:lnTo>
                  <a:lnTo>
                    <a:pt x="1336" y="510"/>
                  </a:lnTo>
                  <a:lnTo>
                    <a:pt x="1334" y="484"/>
                  </a:lnTo>
                  <a:lnTo>
                    <a:pt x="1328" y="462"/>
                  </a:lnTo>
                  <a:lnTo>
                    <a:pt x="1198" y="238"/>
                  </a:lnTo>
                  <a:lnTo>
                    <a:pt x="924" y="238"/>
                  </a:lnTo>
                  <a:lnTo>
                    <a:pt x="902" y="230"/>
                  </a:lnTo>
                  <a:lnTo>
                    <a:pt x="898" y="228"/>
                  </a:lnTo>
                  <a:lnTo>
                    <a:pt x="896" y="226"/>
                  </a:lnTo>
                  <a:lnTo>
                    <a:pt x="894" y="226"/>
                  </a:lnTo>
                  <a:lnTo>
                    <a:pt x="892" y="224"/>
                  </a:lnTo>
                  <a:lnTo>
                    <a:pt x="890" y="224"/>
                  </a:lnTo>
                  <a:lnTo>
                    <a:pt x="888" y="222"/>
                  </a:lnTo>
                  <a:lnTo>
                    <a:pt x="886" y="220"/>
                  </a:lnTo>
                  <a:lnTo>
                    <a:pt x="884" y="220"/>
                  </a:lnTo>
                  <a:lnTo>
                    <a:pt x="882" y="218"/>
                  </a:lnTo>
                  <a:lnTo>
                    <a:pt x="880" y="216"/>
                  </a:lnTo>
                  <a:lnTo>
                    <a:pt x="878" y="214"/>
                  </a:lnTo>
                  <a:lnTo>
                    <a:pt x="876" y="212"/>
                  </a:lnTo>
                  <a:lnTo>
                    <a:pt x="874" y="210"/>
                  </a:lnTo>
                  <a:lnTo>
                    <a:pt x="874" y="208"/>
                  </a:lnTo>
                  <a:lnTo>
                    <a:pt x="872" y="206"/>
                  </a:lnTo>
                  <a:lnTo>
                    <a:pt x="870" y="204"/>
                  </a:lnTo>
                  <a:lnTo>
                    <a:pt x="870" y="202"/>
                  </a:lnTo>
                  <a:lnTo>
                    <a:pt x="868" y="200"/>
                  </a:lnTo>
                  <a:lnTo>
                    <a:pt x="868" y="198"/>
                  </a:lnTo>
                  <a:lnTo>
                    <a:pt x="868" y="194"/>
                  </a:lnTo>
                  <a:lnTo>
                    <a:pt x="870" y="182"/>
                  </a:lnTo>
                  <a:lnTo>
                    <a:pt x="872" y="172"/>
                  </a:lnTo>
                  <a:lnTo>
                    <a:pt x="876" y="164"/>
                  </a:lnTo>
                  <a:lnTo>
                    <a:pt x="880" y="158"/>
                  </a:lnTo>
                  <a:lnTo>
                    <a:pt x="894" y="148"/>
                  </a:lnTo>
                  <a:lnTo>
                    <a:pt x="908" y="138"/>
                  </a:lnTo>
                  <a:lnTo>
                    <a:pt x="922" y="130"/>
                  </a:lnTo>
                  <a:lnTo>
                    <a:pt x="936" y="120"/>
                  </a:lnTo>
                  <a:lnTo>
                    <a:pt x="940" y="114"/>
                  </a:lnTo>
                  <a:lnTo>
                    <a:pt x="944" y="106"/>
                  </a:lnTo>
                  <a:lnTo>
                    <a:pt x="948" y="96"/>
                  </a:lnTo>
                  <a:lnTo>
                    <a:pt x="948" y="84"/>
                  </a:lnTo>
                  <a:lnTo>
                    <a:pt x="948" y="74"/>
                  </a:lnTo>
                  <a:lnTo>
                    <a:pt x="944" y="64"/>
                  </a:lnTo>
                  <a:lnTo>
                    <a:pt x="940" y="54"/>
                  </a:lnTo>
                  <a:lnTo>
                    <a:pt x="932" y="46"/>
                  </a:lnTo>
                  <a:lnTo>
                    <a:pt x="924" y="38"/>
                  </a:lnTo>
                  <a:lnTo>
                    <a:pt x="916" y="30"/>
                  </a:lnTo>
                  <a:lnTo>
                    <a:pt x="894" y="18"/>
                  </a:lnTo>
                  <a:lnTo>
                    <a:pt x="870" y="10"/>
                  </a:lnTo>
                  <a:lnTo>
                    <a:pt x="846" y="4"/>
                  </a:lnTo>
                  <a:lnTo>
                    <a:pt x="824" y="2"/>
                  </a:lnTo>
                  <a:lnTo>
                    <a:pt x="804" y="0"/>
                  </a:lnTo>
                  <a:lnTo>
                    <a:pt x="786" y="2"/>
                  </a:lnTo>
                  <a:lnTo>
                    <a:pt x="762" y="4"/>
                  </a:lnTo>
                  <a:lnTo>
                    <a:pt x="738" y="10"/>
                  </a:lnTo>
                  <a:lnTo>
                    <a:pt x="714" y="18"/>
                  </a:lnTo>
                  <a:lnTo>
                    <a:pt x="694" y="30"/>
                  </a:lnTo>
                  <a:lnTo>
                    <a:pt x="684" y="38"/>
                  </a:lnTo>
                  <a:lnTo>
                    <a:pt x="676" y="46"/>
                  </a:lnTo>
                  <a:lnTo>
                    <a:pt x="670" y="54"/>
                  </a:lnTo>
                  <a:lnTo>
                    <a:pt x="664" y="64"/>
                  </a:lnTo>
                  <a:lnTo>
                    <a:pt x="662" y="74"/>
                  </a:lnTo>
                  <a:lnTo>
                    <a:pt x="660" y="84"/>
                  </a:lnTo>
                  <a:lnTo>
                    <a:pt x="662" y="96"/>
                  </a:lnTo>
                  <a:lnTo>
                    <a:pt x="664" y="106"/>
                  </a:lnTo>
                  <a:lnTo>
                    <a:pt x="668" y="114"/>
                  </a:lnTo>
                  <a:lnTo>
                    <a:pt x="674" y="120"/>
                  </a:lnTo>
                  <a:lnTo>
                    <a:pt x="686" y="130"/>
                  </a:lnTo>
                  <a:lnTo>
                    <a:pt x="700" y="138"/>
                  </a:lnTo>
                  <a:lnTo>
                    <a:pt x="716" y="148"/>
                  </a:lnTo>
                  <a:lnTo>
                    <a:pt x="728" y="158"/>
                  </a:lnTo>
                  <a:lnTo>
                    <a:pt x="734" y="164"/>
                  </a:lnTo>
                  <a:lnTo>
                    <a:pt x="736" y="172"/>
                  </a:lnTo>
                  <a:lnTo>
                    <a:pt x="740" y="182"/>
                  </a:lnTo>
                  <a:lnTo>
                    <a:pt x="740" y="194"/>
                  </a:lnTo>
                  <a:lnTo>
                    <a:pt x="740" y="198"/>
                  </a:lnTo>
                  <a:lnTo>
                    <a:pt x="740" y="200"/>
                  </a:lnTo>
                  <a:lnTo>
                    <a:pt x="740" y="202"/>
                  </a:lnTo>
                  <a:lnTo>
                    <a:pt x="738" y="204"/>
                  </a:lnTo>
                  <a:lnTo>
                    <a:pt x="738" y="206"/>
                  </a:lnTo>
                  <a:lnTo>
                    <a:pt x="736" y="206"/>
                  </a:lnTo>
                  <a:lnTo>
                    <a:pt x="736" y="208"/>
                  </a:lnTo>
                  <a:lnTo>
                    <a:pt x="734" y="210"/>
                  </a:lnTo>
                  <a:lnTo>
                    <a:pt x="734" y="212"/>
                  </a:lnTo>
                  <a:lnTo>
                    <a:pt x="732" y="212"/>
                  </a:lnTo>
                  <a:lnTo>
                    <a:pt x="730" y="214"/>
                  </a:lnTo>
                  <a:lnTo>
                    <a:pt x="730" y="216"/>
                  </a:lnTo>
                  <a:lnTo>
                    <a:pt x="726" y="218"/>
                  </a:lnTo>
                  <a:lnTo>
                    <a:pt x="724" y="220"/>
                  </a:lnTo>
                  <a:lnTo>
                    <a:pt x="722" y="220"/>
                  </a:lnTo>
                  <a:lnTo>
                    <a:pt x="720" y="222"/>
                  </a:lnTo>
                  <a:lnTo>
                    <a:pt x="718" y="224"/>
                  </a:lnTo>
                  <a:lnTo>
                    <a:pt x="716" y="224"/>
                  </a:lnTo>
                  <a:lnTo>
                    <a:pt x="714" y="226"/>
                  </a:lnTo>
                  <a:lnTo>
                    <a:pt x="712" y="226"/>
                  </a:lnTo>
                  <a:lnTo>
                    <a:pt x="710" y="228"/>
                  </a:lnTo>
                  <a:lnTo>
                    <a:pt x="708" y="230"/>
                  </a:lnTo>
                  <a:lnTo>
                    <a:pt x="706" y="230"/>
                  </a:lnTo>
                  <a:lnTo>
                    <a:pt x="684" y="238"/>
                  </a:lnTo>
                  <a:lnTo>
                    <a:pt x="400" y="238"/>
                  </a:lnTo>
                  <a:lnTo>
                    <a:pt x="398" y="236"/>
                  </a:lnTo>
                  <a:lnTo>
                    <a:pt x="0" y="926"/>
                  </a:lnTo>
                  <a:lnTo>
                    <a:pt x="400" y="1618"/>
                  </a:lnTo>
                  <a:lnTo>
                    <a:pt x="1198" y="1618"/>
                  </a:lnTo>
                  <a:lnTo>
                    <a:pt x="1200" y="1618"/>
                  </a:lnTo>
                  <a:lnTo>
                    <a:pt x="1312" y="1426"/>
                  </a:lnTo>
                  <a:close/>
                </a:path>
              </a:pathLst>
            </a:custGeom>
            <a:solidFill>
              <a:srgbClr val="50EC20"/>
            </a:solidFill>
            <a:ln w="38100" cap="flat" cmpd="sng">
              <a:solidFill>
                <a:srgbClr val="5F5F5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E"/>
            </a:p>
          </p:txBody>
        </p:sp>
        <p:sp>
          <p:nvSpPr>
            <p:cNvPr id="27660" name="Text Box 20"/>
            <p:cNvSpPr txBox="1">
              <a:spLocks noChangeArrowheads="1"/>
            </p:cNvSpPr>
            <p:nvPr/>
          </p:nvSpPr>
          <p:spPr bwMode="auto">
            <a:xfrm>
              <a:off x="1463" y="3123"/>
              <a:ext cx="785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5F5F5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GB" b="1">
                  <a:solidFill>
                    <a:srgbClr val="000000"/>
                  </a:solidFill>
                  <a:cs typeface="Arial" charset="0"/>
                </a:rPr>
                <a:t>Patient</a:t>
              </a:r>
            </a:p>
          </p:txBody>
        </p:sp>
      </p:grpSp>
      <p:sp>
        <p:nvSpPr>
          <p:cNvPr id="246805" name="Oval 21"/>
          <p:cNvSpPr>
            <a:spLocks noChangeArrowheads="1"/>
          </p:cNvSpPr>
          <p:nvPr/>
        </p:nvSpPr>
        <p:spPr bwMode="auto">
          <a:xfrm>
            <a:off x="3727450" y="1462088"/>
            <a:ext cx="2862263" cy="2098675"/>
          </a:xfrm>
          <a:prstGeom prst="ellips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E"/>
          </a:p>
        </p:txBody>
      </p:sp>
      <p:sp>
        <p:nvSpPr>
          <p:cNvPr id="246806" name="Oval 22"/>
          <p:cNvSpPr>
            <a:spLocks noChangeArrowheads="1"/>
          </p:cNvSpPr>
          <p:nvPr/>
        </p:nvSpPr>
        <p:spPr bwMode="auto">
          <a:xfrm>
            <a:off x="4373563" y="3560763"/>
            <a:ext cx="2862262" cy="2098675"/>
          </a:xfrm>
          <a:prstGeom prst="ellips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952307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8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468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468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8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468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468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6805" grpId="0" animBg="1"/>
      <p:bldP spid="246806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en-US" smtClean="0"/>
          </a:p>
        </p:txBody>
      </p:sp>
      <p:grpSp>
        <p:nvGrpSpPr>
          <p:cNvPr id="247811" name="Group 3"/>
          <p:cNvGrpSpPr>
            <a:grpSpLocks/>
          </p:cNvGrpSpPr>
          <p:nvPr/>
        </p:nvGrpSpPr>
        <p:grpSpPr bwMode="auto">
          <a:xfrm>
            <a:off x="1182688" y="1655763"/>
            <a:ext cx="1833562" cy="1508125"/>
            <a:chOff x="2428" y="893"/>
            <a:chExt cx="1155" cy="950"/>
          </a:xfrm>
        </p:grpSpPr>
        <p:sp>
          <p:nvSpPr>
            <p:cNvPr id="28691" name="Freeform 4"/>
            <p:cNvSpPr>
              <a:spLocks/>
            </p:cNvSpPr>
            <p:nvPr/>
          </p:nvSpPr>
          <p:spPr bwMode="auto">
            <a:xfrm>
              <a:off x="2428" y="893"/>
              <a:ext cx="1122" cy="950"/>
            </a:xfrm>
            <a:custGeom>
              <a:avLst/>
              <a:gdLst>
                <a:gd name="T0" fmla="*/ 44 w 1636"/>
                <a:gd name="T1" fmla="*/ 200 h 1386"/>
                <a:gd name="T2" fmla="*/ 47 w 1636"/>
                <a:gd name="T3" fmla="*/ 192 h 1386"/>
                <a:gd name="T4" fmla="*/ 47 w 1636"/>
                <a:gd name="T5" fmla="*/ 184 h 1386"/>
                <a:gd name="T6" fmla="*/ 51 w 1636"/>
                <a:gd name="T7" fmla="*/ 177 h 1386"/>
                <a:gd name="T8" fmla="*/ 58 w 1636"/>
                <a:gd name="T9" fmla="*/ 173 h 1386"/>
                <a:gd name="T10" fmla="*/ 67 w 1636"/>
                <a:gd name="T11" fmla="*/ 175 h 1386"/>
                <a:gd name="T12" fmla="*/ 83 w 1636"/>
                <a:gd name="T13" fmla="*/ 190 h 1386"/>
                <a:gd name="T14" fmla="*/ 90 w 1636"/>
                <a:gd name="T15" fmla="*/ 204 h 1386"/>
                <a:gd name="T16" fmla="*/ 92 w 1636"/>
                <a:gd name="T17" fmla="*/ 217 h 1386"/>
                <a:gd name="T18" fmla="*/ 89 w 1636"/>
                <a:gd name="T19" fmla="*/ 228 h 1386"/>
                <a:gd name="T20" fmla="*/ 84 w 1636"/>
                <a:gd name="T21" fmla="*/ 232 h 1386"/>
                <a:gd name="T22" fmla="*/ 77 w 1636"/>
                <a:gd name="T23" fmla="*/ 234 h 1386"/>
                <a:gd name="T24" fmla="*/ 63 w 1636"/>
                <a:gd name="T25" fmla="*/ 227 h 1386"/>
                <a:gd name="T26" fmla="*/ 55 w 1636"/>
                <a:gd name="T27" fmla="*/ 229 h 1386"/>
                <a:gd name="T28" fmla="*/ 52 w 1636"/>
                <a:gd name="T29" fmla="*/ 234 h 1386"/>
                <a:gd name="T30" fmla="*/ 53 w 1636"/>
                <a:gd name="T31" fmla="*/ 243 h 1386"/>
                <a:gd name="T32" fmla="*/ 88 w 1636"/>
                <a:gd name="T33" fmla="*/ 305 h 1386"/>
                <a:gd name="T34" fmla="*/ 147 w 1636"/>
                <a:gd name="T35" fmla="*/ 306 h 1386"/>
                <a:gd name="T36" fmla="*/ 161 w 1636"/>
                <a:gd name="T37" fmla="*/ 300 h 1386"/>
                <a:gd name="T38" fmla="*/ 163 w 1636"/>
                <a:gd name="T39" fmla="*/ 293 h 1386"/>
                <a:gd name="T40" fmla="*/ 157 w 1636"/>
                <a:gd name="T41" fmla="*/ 284 h 1386"/>
                <a:gd name="T42" fmla="*/ 146 w 1636"/>
                <a:gd name="T43" fmla="*/ 277 h 1386"/>
                <a:gd name="T44" fmla="*/ 145 w 1636"/>
                <a:gd name="T45" fmla="*/ 271 h 1386"/>
                <a:gd name="T46" fmla="*/ 148 w 1636"/>
                <a:gd name="T47" fmla="*/ 262 h 1386"/>
                <a:gd name="T48" fmla="*/ 162 w 1636"/>
                <a:gd name="T49" fmla="*/ 255 h 1386"/>
                <a:gd name="T50" fmla="*/ 176 w 1636"/>
                <a:gd name="T51" fmla="*/ 252 h 1386"/>
                <a:gd name="T52" fmla="*/ 197 w 1636"/>
                <a:gd name="T53" fmla="*/ 256 h 1386"/>
                <a:gd name="T54" fmla="*/ 207 w 1636"/>
                <a:gd name="T55" fmla="*/ 265 h 1386"/>
                <a:gd name="T56" fmla="*/ 208 w 1636"/>
                <a:gd name="T57" fmla="*/ 271 h 1386"/>
                <a:gd name="T58" fmla="*/ 206 w 1636"/>
                <a:gd name="T59" fmla="*/ 279 h 1386"/>
                <a:gd name="T60" fmla="*/ 193 w 1636"/>
                <a:gd name="T61" fmla="*/ 287 h 1386"/>
                <a:gd name="T62" fmla="*/ 191 w 1636"/>
                <a:gd name="T63" fmla="*/ 295 h 1386"/>
                <a:gd name="T64" fmla="*/ 194 w 1636"/>
                <a:gd name="T65" fmla="*/ 301 h 1386"/>
                <a:gd name="T66" fmla="*/ 264 w 1636"/>
                <a:gd name="T67" fmla="*/ 306 h 1386"/>
                <a:gd name="T68" fmla="*/ 265 w 1636"/>
                <a:gd name="T69" fmla="*/ 304 h 1386"/>
                <a:gd name="T70" fmla="*/ 296 w 1636"/>
                <a:gd name="T71" fmla="*/ 252 h 1386"/>
                <a:gd name="T72" fmla="*/ 309 w 1636"/>
                <a:gd name="T73" fmla="*/ 244 h 1386"/>
                <a:gd name="T74" fmla="*/ 314 w 1636"/>
                <a:gd name="T75" fmla="*/ 246 h 1386"/>
                <a:gd name="T76" fmla="*/ 318 w 1636"/>
                <a:gd name="T77" fmla="*/ 254 h 1386"/>
                <a:gd name="T78" fmla="*/ 320 w 1636"/>
                <a:gd name="T79" fmla="*/ 267 h 1386"/>
                <a:gd name="T80" fmla="*/ 324 w 1636"/>
                <a:gd name="T81" fmla="*/ 271 h 1386"/>
                <a:gd name="T82" fmla="*/ 333 w 1636"/>
                <a:gd name="T83" fmla="*/ 273 h 1386"/>
                <a:gd name="T84" fmla="*/ 346 w 1636"/>
                <a:gd name="T85" fmla="*/ 265 h 1386"/>
                <a:gd name="T86" fmla="*/ 356 w 1636"/>
                <a:gd name="T87" fmla="*/ 254 h 1386"/>
                <a:gd name="T88" fmla="*/ 361 w 1636"/>
                <a:gd name="T89" fmla="*/ 241 h 1386"/>
                <a:gd name="T90" fmla="*/ 361 w 1636"/>
                <a:gd name="T91" fmla="*/ 226 h 1386"/>
                <a:gd name="T92" fmla="*/ 355 w 1636"/>
                <a:gd name="T93" fmla="*/ 219 h 1386"/>
                <a:gd name="T94" fmla="*/ 348 w 1636"/>
                <a:gd name="T95" fmla="*/ 217 h 1386"/>
                <a:gd name="T96" fmla="*/ 335 w 1636"/>
                <a:gd name="T97" fmla="*/ 223 h 1386"/>
                <a:gd name="T98" fmla="*/ 326 w 1636"/>
                <a:gd name="T99" fmla="*/ 222 h 1386"/>
                <a:gd name="T100" fmla="*/ 322 w 1636"/>
                <a:gd name="T101" fmla="*/ 217 h 1386"/>
                <a:gd name="T102" fmla="*/ 324 w 1636"/>
                <a:gd name="T103" fmla="*/ 204 h 1386"/>
                <a:gd name="T104" fmla="*/ 350 w 1636"/>
                <a:gd name="T105" fmla="*/ 147 h 1386"/>
                <a:gd name="T106" fmla="*/ 71 w 1636"/>
                <a:gd name="T107" fmla="*/ 29 h 1386"/>
                <a:gd name="T108" fmla="*/ 29 w 1636"/>
                <a:gd name="T109" fmla="*/ 199 h 1386"/>
                <a:gd name="T110" fmla="*/ 39 w 1636"/>
                <a:gd name="T111" fmla="*/ 204 h 138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36" h="1386">
                  <a:moveTo>
                    <a:pt x="184" y="918"/>
                  </a:moveTo>
                  <a:lnTo>
                    <a:pt x="184" y="918"/>
                  </a:lnTo>
                  <a:lnTo>
                    <a:pt x="192" y="912"/>
                  </a:lnTo>
                  <a:lnTo>
                    <a:pt x="198" y="906"/>
                  </a:lnTo>
                  <a:lnTo>
                    <a:pt x="204" y="900"/>
                  </a:lnTo>
                  <a:lnTo>
                    <a:pt x="208" y="894"/>
                  </a:lnTo>
                  <a:lnTo>
                    <a:pt x="212" y="882"/>
                  </a:lnTo>
                  <a:lnTo>
                    <a:pt x="214" y="868"/>
                  </a:lnTo>
                  <a:lnTo>
                    <a:pt x="212" y="850"/>
                  </a:lnTo>
                  <a:lnTo>
                    <a:pt x="214" y="834"/>
                  </a:lnTo>
                  <a:lnTo>
                    <a:pt x="216" y="820"/>
                  </a:lnTo>
                  <a:lnTo>
                    <a:pt x="220" y="812"/>
                  </a:lnTo>
                  <a:lnTo>
                    <a:pt x="224" y="806"/>
                  </a:lnTo>
                  <a:lnTo>
                    <a:pt x="232" y="800"/>
                  </a:lnTo>
                  <a:lnTo>
                    <a:pt x="240" y="794"/>
                  </a:lnTo>
                  <a:lnTo>
                    <a:pt x="250" y="788"/>
                  </a:lnTo>
                  <a:lnTo>
                    <a:pt x="260" y="786"/>
                  </a:lnTo>
                  <a:lnTo>
                    <a:pt x="270" y="786"/>
                  </a:lnTo>
                  <a:lnTo>
                    <a:pt x="282" y="786"/>
                  </a:lnTo>
                  <a:lnTo>
                    <a:pt x="292" y="790"/>
                  </a:lnTo>
                  <a:lnTo>
                    <a:pt x="302" y="794"/>
                  </a:lnTo>
                  <a:lnTo>
                    <a:pt x="324" y="808"/>
                  </a:lnTo>
                  <a:lnTo>
                    <a:pt x="344" y="824"/>
                  </a:lnTo>
                  <a:lnTo>
                    <a:pt x="360" y="842"/>
                  </a:lnTo>
                  <a:lnTo>
                    <a:pt x="374" y="860"/>
                  </a:lnTo>
                  <a:lnTo>
                    <a:pt x="384" y="876"/>
                  </a:lnTo>
                  <a:lnTo>
                    <a:pt x="396" y="898"/>
                  </a:lnTo>
                  <a:lnTo>
                    <a:pt x="406" y="924"/>
                  </a:lnTo>
                  <a:lnTo>
                    <a:pt x="412" y="954"/>
                  </a:lnTo>
                  <a:lnTo>
                    <a:pt x="414" y="968"/>
                  </a:lnTo>
                  <a:lnTo>
                    <a:pt x="414" y="982"/>
                  </a:lnTo>
                  <a:lnTo>
                    <a:pt x="414" y="1004"/>
                  </a:lnTo>
                  <a:lnTo>
                    <a:pt x="412" y="1014"/>
                  </a:lnTo>
                  <a:lnTo>
                    <a:pt x="408" y="1022"/>
                  </a:lnTo>
                  <a:lnTo>
                    <a:pt x="404" y="1032"/>
                  </a:lnTo>
                  <a:lnTo>
                    <a:pt x="398" y="1038"/>
                  </a:lnTo>
                  <a:lnTo>
                    <a:pt x="392" y="1046"/>
                  </a:lnTo>
                  <a:lnTo>
                    <a:pt x="384" y="1050"/>
                  </a:lnTo>
                  <a:lnTo>
                    <a:pt x="374" y="1056"/>
                  </a:lnTo>
                  <a:lnTo>
                    <a:pt x="364" y="1058"/>
                  </a:lnTo>
                  <a:lnTo>
                    <a:pt x="354" y="1058"/>
                  </a:lnTo>
                  <a:lnTo>
                    <a:pt x="346" y="1058"/>
                  </a:lnTo>
                  <a:lnTo>
                    <a:pt x="330" y="1052"/>
                  </a:lnTo>
                  <a:lnTo>
                    <a:pt x="316" y="1042"/>
                  </a:lnTo>
                  <a:lnTo>
                    <a:pt x="302" y="1034"/>
                  </a:lnTo>
                  <a:lnTo>
                    <a:pt x="286" y="1028"/>
                  </a:lnTo>
                  <a:lnTo>
                    <a:pt x="278" y="1028"/>
                  </a:lnTo>
                  <a:lnTo>
                    <a:pt x="268" y="1028"/>
                  </a:lnTo>
                  <a:lnTo>
                    <a:pt x="258" y="1032"/>
                  </a:lnTo>
                  <a:lnTo>
                    <a:pt x="248" y="1036"/>
                  </a:lnTo>
                  <a:lnTo>
                    <a:pt x="242" y="1042"/>
                  </a:lnTo>
                  <a:lnTo>
                    <a:pt x="238" y="1048"/>
                  </a:lnTo>
                  <a:lnTo>
                    <a:pt x="236" y="1058"/>
                  </a:lnTo>
                  <a:lnTo>
                    <a:pt x="234" y="1068"/>
                  </a:lnTo>
                  <a:lnTo>
                    <a:pt x="236" y="1086"/>
                  </a:lnTo>
                  <a:lnTo>
                    <a:pt x="240" y="1102"/>
                  </a:lnTo>
                  <a:lnTo>
                    <a:pt x="398" y="1378"/>
                  </a:lnTo>
                  <a:lnTo>
                    <a:pt x="402" y="1378"/>
                  </a:lnTo>
                  <a:lnTo>
                    <a:pt x="402" y="1380"/>
                  </a:lnTo>
                  <a:lnTo>
                    <a:pt x="400" y="1382"/>
                  </a:lnTo>
                  <a:lnTo>
                    <a:pt x="402" y="1386"/>
                  </a:lnTo>
                  <a:lnTo>
                    <a:pt x="664" y="1386"/>
                  </a:lnTo>
                  <a:lnTo>
                    <a:pt x="686" y="1380"/>
                  </a:lnTo>
                  <a:lnTo>
                    <a:pt x="708" y="1368"/>
                  </a:lnTo>
                  <a:lnTo>
                    <a:pt x="718" y="1362"/>
                  </a:lnTo>
                  <a:lnTo>
                    <a:pt x="726" y="1356"/>
                  </a:lnTo>
                  <a:lnTo>
                    <a:pt x="732" y="1346"/>
                  </a:lnTo>
                  <a:lnTo>
                    <a:pt x="734" y="1338"/>
                  </a:lnTo>
                  <a:lnTo>
                    <a:pt x="734" y="1326"/>
                  </a:lnTo>
                  <a:lnTo>
                    <a:pt x="730" y="1316"/>
                  </a:lnTo>
                  <a:lnTo>
                    <a:pt x="728" y="1308"/>
                  </a:lnTo>
                  <a:lnTo>
                    <a:pt x="722" y="1302"/>
                  </a:lnTo>
                  <a:lnTo>
                    <a:pt x="710" y="1290"/>
                  </a:lnTo>
                  <a:lnTo>
                    <a:pt x="694" y="1282"/>
                  </a:lnTo>
                  <a:lnTo>
                    <a:pt x="680" y="1274"/>
                  </a:lnTo>
                  <a:lnTo>
                    <a:pt x="668" y="1264"/>
                  </a:lnTo>
                  <a:lnTo>
                    <a:pt x="662" y="1256"/>
                  </a:lnTo>
                  <a:lnTo>
                    <a:pt x="658" y="1248"/>
                  </a:lnTo>
                  <a:lnTo>
                    <a:pt x="656" y="1240"/>
                  </a:lnTo>
                  <a:lnTo>
                    <a:pt x="654" y="1228"/>
                  </a:lnTo>
                  <a:lnTo>
                    <a:pt x="656" y="1216"/>
                  </a:lnTo>
                  <a:lnTo>
                    <a:pt x="658" y="1206"/>
                  </a:lnTo>
                  <a:lnTo>
                    <a:pt x="664" y="1198"/>
                  </a:lnTo>
                  <a:lnTo>
                    <a:pt x="670" y="1188"/>
                  </a:lnTo>
                  <a:lnTo>
                    <a:pt x="678" y="1180"/>
                  </a:lnTo>
                  <a:lnTo>
                    <a:pt x="688" y="1174"/>
                  </a:lnTo>
                  <a:lnTo>
                    <a:pt x="708" y="1162"/>
                  </a:lnTo>
                  <a:lnTo>
                    <a:pt x="732" y="1154"/>
                  </a:lnTo>
                  <a:lnTo>
                    <a:pt x="756" y="1148"/>
                  </a:lnTo>
                  <a:lnTo>
                    <a:pt x="780" y="1144"/>
                  </a:lnTo>
                  <a:lnTo>
                    <a:pt x="798" y="1144"/>
                  </a:lnTo>
                  <a:lnTo>
                    <a:pt x="818" y="1144"/>
                  </a:lnTo>
                  <a:lnTo>
                    <a:pt x="840" y="1148"/>
                  </a:lnTo>
                  <a:lnTo>
                    <a:pt x="864" y="1154"/>
                  </a:lnTo>
                  <a:lnTo>
                    <a:pt x="888" y="1162"/>
                  </a:lnTo>
                  <a:lnTo>
                    <a:pt x="910" y="1174"/>
                  </a:lnTo>
                  <a:lnTo>
                    <a:pt x="918" y="1180"/>
                  </a:lnTo>
                  <a:lnTo>
                    <a:pt x="926" y="1188"/>
                  </a:lnTo>
                  <a:lnTo>
                    <a:pt x="934" y="1198"/>
                  </a:lnTo>
                  <a:lnTo>
                    <a:pt x="938" y="1206"/>
                  </a:lnTo>
                  <a:lnTo>
                    <a:pt x="942" y="1216"/>
                  </a:lnTo>
                  <a:lnTo>
                    <a:pt x="942" y="1228"/>
                  </a:lnTo>
                  <a:lnTo>
                    <a:pt x="942" y="1240"/>
                  </a:lnTo>
                  <a:lnTo>
                    <a:pt x="938" y="1248"/>
                  </a:lnTo>
                  <a:lnTo>
                    <a:pt x="934" y="1256"/>
                  </a:lnTo>
                  <a:lnTo>
                    <a:pt x="930" y="1264"/>
                  </a:lnTo>
                  <a:lnTo>
                    <a:pt x="916" y="1274"/>
                  </a:lnTo>
                  <a:lnTo>
                    <a:pt x="902" y="1282"/>
                  </a:lnTo>
                  <a:lnTo>
                    <a:pt x="888" y="1290"/>
                  </a:lnTo>
                  <a:lnTo>
                    <a:pt x="874" y="1302"/>
                  </a:lnTo>
                  <a:lnTo>
                    <a:pt x="870" y="1308"/>
                  </a:lnTo>
                  <a:lnTo>
                    <a:pt x="866" y="1316"/>
                  </a:lnTo>
                  <a:lnTo>
                    <a:pt x="864" y="1326"/>
                  </a:lnTo>
                  <a:lnTo>
                    <a:pt x="862" y="1338"/>
                  </a:lnTo>
                  <a:lnTo>
                    <a:pt x="864" y="1346"/>
                  </a:lnTo>
                  <a:lnTo>
                    <a:pt x="870" y="1356"/>
                  </a:lnTo>
                  <a:lnTo>
                    <a:pt x="878" y="1362"/>
                  </a:lnTo>
                  <a:lnTo>
                    <a:pt x="888" y="1368"/>
                  </a:lnTo>
                  <a:lnTo>
                    <a:pt x="912" y="1380"/>
                  </a:lnTo>
                  <a:lnTo>
                    <a:pt x="934" y="1386"/>
                  </a:lnTo>
                  <a:lnTo>
                    <a:pt x="1194" y="1386"/>
                  </a:lnTo>
                  <a:lnTo>
                    <a:pt x="1198" y="1380"/>
                  </a:lnTo>
                  <a:lnTo>
                    <a:pt x="1198" y="1378"/>
                  </a:lnTo>
                  <a:lnTo>
                    <a:pt x="1202" y="1378"/>
                  </a:lnTo>
                  <a:lnTo>
                    <a:pt x="1204" y="1372"/>
                  </a:lnTo>
                  <a:lnTo>
                    <a:pt x="1240" y="1310"/>
                  </a:lnTo>
                  <a:lnTo>
                    <a:pt x="1340" y="1138"/>
                  </a:lnTo>
                  <a:lnTo>
                    <a:pt x="1356" y="1124"/>
                  </a:lnTo>
                  <a:lnTo>
                    <a:pt x="1376" y="1112"/>
                  </a:lnTo>
                  <a:lnTo>
                    <a:pt x="1384" y="1108"/>
                  </a:lnTo>
                  <a:lnTo>
                    <a:pt x="1394" y="1104"/>
                  </a:lnTo>
                  <a:lnTo>
                    <a:pt x="1402" y="1104"/>
                  </a:lnTo>
                  <a:lnTo>
                    <a:pt x="1410" y="1108"/>
                  </a:lnTo>
                  <a:lnTo>
                    <a:pt x="1420" y="1114"/>
                  </a:lnTo>
                  <a:lnTo>
                    <a:pt x="1426" y="1122"/>
                  </a:lnTo>
                  <a:lnTo>
                    <a:pt x="1432" y="1128"/>
                  </a:lnTo>
                  <a:lnTo>
                    <a:pt x="1436" y="1136"/>
                  </a:lnTo>
                  <a:lnTo>
                    <a:pt x="1438" y="1152"/>
                  </a:lnTo>
                  <a:lnTo>
                    <a:pt x="1438" y="1170"/>
                  </a:lnTo>
                  <a:lnTo>
                    <a:pt x="1438" y="1186"/>
                  </a:lnTo>
                  <a:lnTo>
                    <a:pt x="1440" y="1202"/>
                  </a:lnTo>
                  <a:lnTo>
                    <a:pt x="1444" y="1210"/>
                  </a:lnTo>
                  <a:lnTo>
                    <a:pt x="1448" y="1218"/>
                  </a:lnTo>
                  <a:lnTo>
                    <a:pt x="1456" y="1226"/>
                  </a:lnTo>
                  <a:lnTo>
                    <a:pt x="1466" y="1232"/>
                  </a:lnTo>
                  <a:lnTo>
                    <a:pt x="1476" y="1236"/>
                  </a:lnTo>
                  <a:lnTo>
                    <a:pt x="1486" y="1240"/>
                  </a:lnTo>
                  <a:lnTo>
                    <a:pt x="1496" y="1240"/>
                  </a:lnTo>
                  <a:lnTo>
                    <a:pt x="1506" y="1238"/>
                  </a:lnTo>
                  <a:lnTo>
                    <a:pt x="1518" y="1234"/>
                  </a:lnTo>
                  <a:lnTo>
                    <a:pt x="1528" y="1230"/>
                  </a:lnTo>
                  <a:lnTo>
                    <a:pt x="1550" y="1218"/>
                  </a:lnTo>
                  <a:lnTo>
                    <a:pt x="1568" y="1202"/>
                  </a:lnTo>
                  <a:lnTo>
                    <a:pt x="1586" y="1184"/>
                  </a:lnTo>
                  <a:lnTo>
                    <a:pt x="1600" y="1166"/>
                  </a:lnTo>
                  <a:lnTo>
                    <a:pt x="1610" y="1150"/>
                  </a:lnTo>
                  <a:lnTo>
                    <a:pt x="1618" y="1132"/>
                  </a:lnTo>
                  <a:lnTo>
                    <a:pt x="1628" y="1112"/>
                  </a:lnTo>
                  <a:lnTo>
                    <a:pt x="1632" y="1094"/>
                  </a:lnTo>
                  <a:lnTo>
                    <a:pt x="1636" y="1076"/>
                  </a:lnTo>
                  <a:lnTo>
                    <a:pt x="1636" y="1060"/>
                  </a:lnTo>
                  <a:lnTo>
                    <a:pt x="1636" y="1042"/>
                  </a:lnTo>
                  <a:lnTo>
                    <a:pt x="1634" y="1026"/>
                  </a:lnTo>
                  <a:lnTo>
                    <a:pt x="1628" y="1012"/>
                  </a:lnTo>
                  <a:lnTo>
                    <a:pt x="1618" y="1000"/>
                  </a:lnTo>
                  <a:lnTo>
                    <a:pt x="1606" y="990"/>
                  </a:lnTo>
                  <a:lnTo>
                    <a:pt x="1596" y="986"/>
                  </a:lnTo>
                  <a:lnTo>
                    <a:pt x="1586" y="984"/>
                  </a:lnTo>
                  <a:lnTo>
                    <a:pt x="1578" y="982"/>
                  </a:lnTo>
                  <a:lnTo>
                    <a:pt x="1570" y="984"/>
                  </a:lnTo>
                  <a:lnTo>
                    <a:pt x="1554" y="990"/>
                  </a:lnTo>
                  <a:lnTo>
                    <a:pt x="1540" y="998"/>
                  </a:lnTo>
                  <a:lnTo>
                    <a:pt x="1524" y="1006"/>
                  </a:lnTo>
                  <a:lnTo>
                    <a:pt x="1510" y="1012"/>
                  </a:lnTo>
                  <a:lnTo>
                    <a:pt x="1500" y="1014"/>
                  </a:lnTo>
                  <a:lnTo>
                    <a:pt x="1492" y="1012"/>
                  </a:lnTo>
                  <a:lnTo>
                    <a:pt x="1482" y="1010"/>
                  </a:lnTo>
                  <a:lnTo>
                    <a:pt x="1472" y="1004"/>
                  </a:lnTo>
                  <a:lnTo>
                    <a:pt x="1464" y="1000"/>
                  </a:lnTo>
                  <a:lnTo>
                    <a:pt x="1460" y="992"/>
                  </a:lnTo>
                  <a:lnTo>
                    <a:pt x="1458" y="982"/>
                  </a:lnTo>
                  <a:lnTo>
                    <a:pt x="1458" y="972"/>
                  </a:lnTo>
                  <a:lnTo>
                    <a:pt x="1458" y="950"/>
                  </a:lnTo>
                  <a:lnTo>
                    <a:pt x="1462" y="928"/>
                  </a:lnTo>
                  <a:lnTo>
                    <a:pt x="1464" y="926"/>
                  </a:lnTo>
                  <a:lnTo>
                    <a:pt x="1466" y="920"/>
                  </a:lnTo>
                  <a:lnTo>
                    <a:pt x="1598" y="692"/>
                  </a:lnTo>
                  <a:lnTo>
                    <a:pt x="1582" y="668"/>
                  </a:lnTo>
                  <a:lnTo>
                    <a:pt x="1584" y="668"/>
                  </a:lnTo>
                  <a:lnTo>
                    <a:pt x="1198" y="0"/>
                  </a:lnTo>
                  <a:lnTo>
                    <a:pt x="398" y="0"/>
                  </a:lnTo>
                  <a:lnTo>
                    <a:pt x="322" y="132"/>
                  </a:lnTo>
                  <a:lnTo>
                    <a:pt x="0" y="690"/>
                  </a:lnTo>
                  <a:lnTo>
                    <a:pt x="116" y="888"/>
                  </a:lnTo>
                  <a:lnTo>
                    <a:pt x="132" y="902"/>
                  </a:lnTo>
                  <a:lnTo>
                    <a:pt x="150" y="914"/>
                  </a:lnTo>
                  <a:lnTo>
                    <a:pt x="160" y="918"/>
                  </a:lnTo>
                  <a:lnTo>
                    <a:pt x="168" y="920"/>
                  </a:lnTo>
                  <a:lnTo>
                    <a:pt x="176" y="920"/>
                  </a:lnTo>
                  <a:lnTo>
                    <a:pt x="184" y="918"/>
                  </a:lnTo>
                  <a:close/>
                </a:path>
              </a:pathLst>
            </a:custGeom>
            <a:solidFill>
              <a:srgbClr val="438DEF"/>
            </a:solidFill>
            <a:ln w="38100" cap="flat" cmpd="sng">
              <a:solidFill>
                <a:srgbClr val="5F5F5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E"/>
            </a:p>
          </p:txBody>
        </p:sp>
        <p:sp>
          <p:nvSpPr>
            <p:cNvPr id="28692" name="Text Box 5"/>
            <p:cNvSpPr txBox="1">
              <a:spLocks noChangeArrowheads="1"/>
            </p:cNvSpPr>
            <p:nvPr/>
          </p:nvSpPr>
          <p:spPr bwMode="auto">
            <a:xfrm>
              <a:off x="2428" y="1221"/>
              <a:ext cx="1155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5F5F5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IE" b="1">
                  <a:solidFill>
                    <a:srgbClr val="000000"/>
                  </a:solidFill>
                  <a:cs typeface="Arial" charset="0"/>
                </a:rPr>
                <a:t>Manufacturer</a:t>
              </a:r>
              <a:endParaRPr lang="en-GB" b="1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247814" name="Group 6"/>
          <p:cNvGrpSpPr>
            <a:grpSpLocks/>
          </p:cNvGrpSpPr>
          <p:nvPr/>
        </p:nvGrpSpPr>
        <p:grpSpPr bwMode="auto">
          <a:xfrm>
            <a:off x="6475413" y="1779588"/>
            <a:ext cx="1739900" cy="1765300"/>
            <a:chOff x="3632" y="1479"/>
            <a:chExt cx="1096" cy="1112"/>
          </a:xfrm>
        </p:grpSpPr>
        <p:sp>
          <p:nvSpPr>
            <p:cNvPr id="28689" name="Freeform 7"/>
            <p:cNvSpPr>
              <a:spLocks/>
            </p:cNvSpPr>
            <p:nvPr/>
          </p:nvSpPr>
          <p:spPr bwMode="auto">
            <a:xfrm>
              <a:off x="3632" y="1479"/>
              <a:ext cx="1096" cy="1112"/>
            </a:xfrm>
            <a:custGeom>
              <a:avLst/>
              <a:gdLst>
                <a:gd name="T0" fmla="*/ 58 w 1600"/>
                <a:gd name="T1" fmla="*/ 58 h 1624"/>
                <a:gd name="T2" fmla="*/ 63 w 1600"/>
                <a:gd name="T3" fmla="*/ 69 h 1624"/>
                <a:gd name="T4" fmla="*/ 82 w 1600"/>
                <a:gd name="T5" fmla="*/ 64 h 1624"/>
                <a:gd name="T6" fmla="*/ 93 w 1600"/>
                <a:gd name="T7" fmla="*/ 68 h 1624"/>
                <a:gd name="T8" fmla="*/ 95 w 1600"/>
                <a:gd name="T9" fmla="*/ 94 h 1624"/>
                <a:gd name="T10" fmla="*/ 82 w 1600"/>
                <a:gd name="T11" fmla="*/ 115 h 1624"/>
                <a:gd name="T12" fmla="*/ 60 w 1600"/>
                <a:gd name="T13" fmla="*/ 123 h 1624"/>
                <a:gd name="T14" fmla="*/ 53 w 1600"/>
                <a:gd name="T15" fmla="*/ 112 h 1624"/>
                <a:gd name="T16" fmla="*/ 47 w 1600"/>
                <a:gd name="T17" fmla="*/ 94 h 1624"/>
                <a:gd name="T18" fmla="*/ 31 w 1600"/>
                <a:gd name="T19" fmla="*/ 101 h 1624"/>
                <a:gd name="T20" fmla="*/ 31 w 1600"/>
                <a:gd name="T21" fmla="*/ 205 h 1624"/>
                <a:gd name="T22" fmla="*/ 47 w 1600"/>
                <a:gd name="T23" fmla="*/ 213 h 1624"/>
                <a:gd name="T24" fmla="*/ 53 w 1600"/>
                <a:gd name="T25" fmla="*/ 199 h 1624"/>
                <a:gd name="T26" fmla="*/ 59 w 1600"/>
                <a:gd name="T27" fmla="*/ 186 h 1624"/>
                <a:gd name="T28" fmla="*/ 77 w 1600"/>
                <a:gd name="T29" fmla="*/ 188 h 1624"/>
                <a:gd name="T30" fmla="*/ 95 w 1600"/>
                <a:gd name="T31" fmla="*/ 212 h 1624"/>
                <a:gd name="T32" fmla="*/ 95 w 1600"/>
                <a:gd name="T33" fmla="*/ 237 h 1624"/>
                <a:gd name="T34" fmla="*/ 83 w 1600"/>
                <a:gd name="T35" fmla="*/ 242 h 1624"/>
                <a:gd name="T36" fmla="*/ 63 w 1600"/>
                <a:gd name="T37" fmla="*/ 236 h 1624"/>
                <a:gd name="T38" fmla="*/ 59 w 1600"/>
                <a:gd name="T39" fmla="*/ 250 h 1624"/>
                <a:gd name="T40" fmla="*/ 147 w 1600"/>
                <a:gd name="T41" fmla="*/ 305 h 1624"/>
                <a:gd name="T42" fmla="*/ 151 w 1600"/>
                <a:gd name="T43" fmla="*/ 306 h 1624"/>
                <a:gd name="T44" fmla="*/ 153 w 1600"/>
                <a:gd name="T45" fmla="*/ 307 h 1624"/>
                <a:gd name="T46" fmla="*/ 155 w 1600"/>
                <a:gd name="T47" fmla="*/ 308 h 1624"/>
                <a:gd name="T48" fmla="*/ 157 w 1600"/>
                <a:gd name="T49" fmla="*/ 310 h 1624"/>
                <a:gd name="T50" fmla="*/ 159 w 1600"/>
                <a:gd name="T51" fmla="*/ 311 h 1624"/>
                <a:gd name="T52" fmla="*/ 160 w 1600"/>
                <a:gd name="T53" fmla="*/ 313 h 1624"/>
                <a:gd name="T54" fmla="*/ 160 w 1600"/>
                <a:gd name="T55" fmla="*/ 314 h 1624"/>
                <a:gd name="T56" fmla="*/ 160 w 1600"/>
                <a:gd name="T57" fmla="*/ 316 h 1624"/>
                <a:gd name="T58" fmla="*/ 160 w 1600"/>
                <a:gd name="T59" fmla="*/ 318 h 1624"/>
                <a:gd name="T60" fmla="*/ 155 w 1600"/>
                <a:gd name="T61" fmla="*/ 325 h 1624"/>
                <a:gd name="T62" fmla="*/ 148 w 1600"/>
                <a:gd name="T63" fmla="*/ 328 h 1624"/>
                <a:gd name="T64" fmla="*/ 145 w 1600"/>
                <a:gd name="T65" fmla="*/ 331 h 1624"/>
                <a:gd name="T66" fmla="*/ 144 w 1600"/>
                <a:gd name="T67" fmla="*/ 333 h 1624"/>
                <a:gd name="T68" fmla="*/ 142 w 1600"/>
                <a:gd name="T69" fmla="*/ 337 h 1624"/>
                <a:gd name="T70" fmla="*/ 143 w 1600"/>
                <a:gd name="T71" fmla="*/ 344 h 1624"/>
                <a:gd name="T72" fmla="*/ 164 w 1600"/>
                <a:gd name="T73" fmla="*/ 356 h 1624"/>
                <a:gd name="T74" fmla="*/ 194 w 1600"/>
                <a:gd name="T75" fmla="*/ 353 h 1624"/>
                <a:gd name="T76" fmla="*/ 206 w 1600"/>
                <a:gd name="T77" fmla="*/ 338 h 1624"/>
                <a:gd name="T78" fmla="*/ 205 w 1600"/>
                <a:gd name="T79" fmla="*/ 334 h 1624"/>
                <a:gd name="T80" fmla="*/ 203 w 1600"/>
                <a:gd name="T81" fmla="*/ 331 h 1624"/>
                <a:gd name="T82" fmla="*/ 202 w 1600"/>
                <a:gd name="T83" fmla="*/ 330 h 1624"/>
                <a:gd name="T84" fmla="*/ 199 w 1600"/>
                <a:gd name="T85" fmla="*/ 328 h 1624"/>
                <a:gd name="T86" fmla="*/ 190 w 1600"/>
                <a:gd name="T87" fmla="*/ 321 h 1624"/>
                <a:gd name="T88" fmla="*/ 188 w 1600"/>
                <a:gd name="T89" fmla="*/ 318 h 1624"/>
                <a:gd name="T90" fmla="*/ 188 w 1600"/>
                <a:gd name="T91" fmla="*/ 316 h 1624"/>
                <a:gd name="T92" fmla="*/ 188 w 1600"/>
                <a:gd name="T93" fmla="*/ 314 h 1624"/>
                <a:gd name="T94" fmla="*/ 188 w 1600"/>
                <a:gd name="T95" fmla="*/ 313 h 1624"/>
                <a:gd name="T96" fmla="*/ 189 w 1600"/>
                <a:gd name="T97" fmla="*/ 312 h 1624"/>
                <a:gd name="T98" fmla="*/ 190 w 1600"/>
                <a:gd name="T99" fmla="*/ 310 h 1624"/>
                <a:gd name="T100" fmla="*/ 192 w 1600"/>
                <a:gd name="T101" fmla="*/ 308 h 1624"/>
                <a:gd name="T102" fmla="*/ 195 w 1600"/>
                <a:gd name="T103" fmla="*/ 307 h 1624"/>
                <a:gd name="T104" fmla="*/ 197 w 1600"/>
                <a:gd name="T105" fmla="*/ 307 h 1624"/>
                <a:gd name="T106" fmla="*/ 201 w 1600"/>
                <a:gd name="T107" fmla="*/ 305 h 1624"/>
                <a:gd name="T108" fmla="*/ 264 w 1600"/>
                <a:gd name="T109" fmla="*/ 0 h 16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00" h="1624">
                  <a:moveTo>
                    <a:pt x="1200" y="0"/>
                  </a:moveTo>
                  <a:lnTo>
                    <a:pt x="402" y="0"/>
                  </a:lnTo>
                  <a:lnTo>
                    <a:pt x="400" y="6"/>
                  </a:lnTo>
                  <a:lnTo>
                    <a:pt x="400" y="8"/>
                  </a:lnTo>
                  <a:lnTo>
                    <a:pt x="266" y="240"/>
                  </a:lnTo>
                  <a:lnTo>
                    <a:pt x="262" y="260"/>
                  </a:lnTo>
                  <a:lnTo>
                    <a:pt x="262" y="282"/>
                  </a:lnTo>
                  <a:lnTo>
                    <a:pt x="264" y="290"/>
                  </a:lnTo>
                  <a:lnTo>
                    <a:pt x="266" y="298"/>
                  </a:lnTo>
                  <a:lnTo>
                    <a:pt x="270" y="306"/>
                  </a:lnTo>
                  <a:lnTo>
                    <a:pt x="276" y="310"/>
                  </a:lnTo>
                  <a:lnTo>
                    <a:pt x="286" y="316"/>
                  </a:lnTo>
                  <a:lnTo>
                    <a:pt x="296" y="318"/>
                  </a:lnTo>
                  <a:lnTo>
                    <a:pt x="306" y="320"/>
                  </a:lnTo>
                  <a:lnTo>
                    <a:pt x="314" y="318"/>
                  </a:lnTo>
                  <a:lnTo>
                    <a:pt x="330" y="312"/>
                  </a:lnTo>
                  <a:lnTo>
                    <a:pt x="344" y="304"/>
                  </a:lnTo>
                  <a:lnTo>
                    <a:pt x="358" y="296"/>
                  </a:lnTo>
                  <a:lnTo>
                    <a:pt x="374" y="290"/>
                  </a:lnTo>
                  <a:lnTo>
                    <a:pt x="382" y="288"/>
                  </a:lnTo>
                  <a:lnTo>
                    <a:pt x="392" y="290"/>
                  </a:lnTo>
                  <a:lnTo>
                    <a:pt x="400" y="292"/>
                  </a:lnTo>
                  <a:lnTo>
                    <a:pt x="412" y="296"/>
                  </a:lnTo>
                  <a:lnTo>
                    <a:pt x="418" y="302"/>
                  </a:lnTo>
                  <a:lnTo>
                    <a:pt x="424" y="306"/>
                  </a:lnTo>
                  <a:lnTo>
                    <a:pt x="434" y="320"/>
                  </a:lnTo>
                  <a:lnTo>
                    <a:pt x="438" y="336"/>
                  </a:lnTo>
                  <a:lnTo>
                    <a:pt x="442" y="352"/>
                  </a:lnTo>
                  <a:lnTo>
                    <a:pt x="442" y="370"/>
                  </a:lnTo>
                  <a:lnTo>
                    <a:pt x="438" y="390"/>
                  </a:lnTo>
                  <a:lnTo>
                    <a:pt x="434" y="408"/>
                  </a:lnTo>
                  <a:lnTo>
                    <a:pt x="430" y="426"/>
                  </a:lnTo>
                  <a:lnTo>
                    <a:pt x="420" y="450"/>
                  </a:lnTo>
                  <a:lnTo>
                    <a:pt x="410" y="472"/>
                  </a:lnTo>
                  <a:lnTo>
                    <a:pt x="398" y="488"/>
                  </a:lnTo>
                  <a:lnTo>
                    <a:pt x="384" y="506"/>
                  </a:lnTo>
                  <a:lnTo>
                    <a:pt x="368" y="524"/>
                  </a:lnTo>
                  <a:lnTo>
                    <a:pt x="348" y="540"/>
                  </a:lnTo>
                  <a:lnTo>
                    <a:pt x="328" y="552"/>
                  </a:lnTo>
                  <a:lnTo>
                    <a:pt x="318" y="556"/>
                  </a:lnTo>
                  <a:lnTo>
                    <a:pt x="306" y="560"/>
                  </a:lnTo>
                  <a:lnTo>
                    <a:pt x="296" y="562"/>
                  </a:lnTo>
                  <a:lnTo>
                    <a:pt x="284" y="562"/>
                  </a:lnTo>
                  <a:lnTo>
                    <a:pt x="274" y="558"/>
                  </a:lnTo>
                  <a:lnTo>
                    <a:pt x="264" y="554"/>
                  </a:lnTo>
                  <a:lnTo>
                    <a:pt x="256" y="548"/>
                  </a:lnTo>
                  <a:lnTo>
                    <a:pt x="248" y="540"/>
                  </a:lnTo>
                  <a:lnTo>
                    <a:pt x="244" y="532"/>
                  </a:lnTo>
                  <a:lnTo>
                    <a:pt x="240" y="524"/>
                  </a:lnTo>
                  <a:lnTo>
                    <a:pt x="238" y="508"/>
                  </a:lnTo>
                  <a:lnTo>
                    <a:pt x="238" y="492"/>
                  </a:lnTo>
                  <a:lnTo>
                    <a:pt x="238" y="474"/>
                  </a:lnTo>
                  <a:lnTo>
                    <a:pt x="234" y="458"/>
                  </a:lnTo>
                  <a:lnTo>
                    <a:pt x="232" y="450"/>
                  </a:lnTo>
                  <a:lnTo>
                    <a:pt x="226" y="444"/>
                  </a:lnTo>
                  <a:lnTo>
                    <a:pt x="218" y="436"/>
                  </a:lnTo>
                  <a:lnTo>
                    <a:pt x="210" y="430"/>
                  </a:lnTo>
                  <a:lnTo>
                    <a:pt x="202" y="426"/>
                  </a:lnTo>
                  <a:lnTo>
                    <a:pt x="192" y="426"/>
                  </a:lnTo>
                  <a:lnTo>
                    <a:pt x="184" y="430"/>
                  </a:lnTo>
                  <a:lnTo>
                    <a:pt x="174" y="434"/>
                  </a:lnTo>
                  <a:lnTo>
                    <a:pt x="156" y="446"/>
                  </a:lnTo>
                  <a:lnTo>
                    <a:pt x="140" y="460"/>
                  </a:lnTo>
                  <a:lnTo>
                    <a:pt x="40" y="632"/>
                  </a:lnTo>
                  <a:lnTo>
                    <a:pt x="4" y="694"/>
                  </a:lnTo>
                  <a:lnTo>
                    <a:pt x="0" y="694"/>
                  </a:lnTo>
                  <a:lnTo>
                    <a:pt x="2" y="696"/>
                  </a:lnTo>
                  <a:lnTo>
                    <a:pt x="4" y="696"/>
                  </a:lnTo>
                  <a:lnTo>
                    <a:pt x="140" y="934"/>
                  </a:lnTo>
                  <a:lnTo>
                    <a:pt x="158" y="948"/>
                  </a:lnTo>
                  <a:lnTo>
                    <a:pt x="176" y="962"/>
                  </a:lnTo>
                  <a:lnTo>
                    <a:pt x="186" y="968"/>
                  </a:lnTo>
                  <a:lnTo>
                    <a:pt x="196" y="970"/>
                  </a:lnTo>
                  <a:lnTo>
                    <a:pt x="206" y="970"/>
                  </a:lnTo>
                  <a:lnTo>
                    <a:pt x="214" y="968"/>
                  </a:lnTo>
                  <a:lnTo>
                    <a:pt x="224" y="960"/>
                  </a:lnTo>
                  <a:lnTo>
                    <a:pt x="230" y="954"/>
                  </a:lnTo>
                  <a:lnTo>
                    <a:pt x="236" y="946"/>
                  </a:lnTo>
                  <a:lnTo>
                    <a:pt x="240" y="938"/>
                  </a:lnTo>
                  <a:lnTo>
                    <a:pt x="242" y="922"/>
                  </a:lnTo>
                  <a:lnTo>
                    <a:pt x="242" y="906"/>
                  </a:lnTo>
                  <a:lnTo>
                    <a:pt x="242" y="888"/>
                  </a:lnTo>
                  <a:lnTo>
                    <a:pt x="244" y="872"/>
                  </a:lnTo>
                  <a:lnTo>
                    <a:pt x="248" y="864"/>
                  </a:lnTo>
                  <a:lnTo>
                    <a:pt x="252" y="858"/>
                  </a:lnTo>
                  <a:lnTo>
                    <a:pt x="260" y="850"/>
                  </a:lnTo>
                  <a:lnTo>
                    <a:pt x="268" y="844"/>
                  </a:lnTo>
                  <a:lnTo>
                    <a:pt x="278" y="838"/>
                  </a:lnTo>
                  <a:lnTo>
                    <a:pt x="290" y="836"/>
                  </a:lnTo>
                  <a:lnTo>
                    <a:pt x="300" y="836"/>
                  </a:lnTo>
                  <a:lnTo>
                    <a:pt x="310" y="836"/>
                  </a:lnTo>
                  <a:lnTo>
                    <a:pt x="322" y="840"/>
                  </a:lnTo>
                  <a:lnTo>
                    <a:pt x="332" y="844"/>
                  </a:lnTo>
                  <a:lnTo>
                    <a:pt x="352" y="858"/>
                  </a:lnTo>
                  <a:lnTo>
                    <a:pt x="372" y="874"/>
                  </a:lnTo>
                  <a:lnTo>
                    <a:pt x="390" y="892"/>
                  </a:lnTo>
                  <a:lnTo>
                    <a:pt x="404" y="910"/>
                  </a:lnTo>
                  <a:lnTo>
                    <a:pt x="414" y="926"/>
                  </a:lnTo>
                  <a:lnTo>
                    <a:pt x="422" y="944"/>
                  </a:lnTo>
                  <a:lnTo>
                    <a:pt x="432" y="964"/>
                  </a:lnTo>
                  <a:lnTo>
                    <a:pt x="438" y="988"/>
                  </a:lnTo>
                  <a:lnTo>
                    <a:pt x="442" y="1012"/>
                  </a:lnTo>
                  <a:lnTo>
                    <a:pt x="444" y="1038"/>
                  </a:lnTo>
                  <a:lnTo>
                    <a:pt x="442" y="1048"/>
                  </a:lnTo>
                  <a:lnTo>
                    <a:pt x="440" y="1060"/>
                  </a:lnTo>
                  <a:lnTo>
                    <a:pt x="436" y="1070"/>
                  </a:lnTo>
                  <a:lnTo>
                    <a:pt x="430" y="1078"/>
                  </a:lnTo>
                  <a:lnTo>
                    <a:pt x="422" y="1086"/>
                  </a:lnTo>
                  <a:lnTo>
                    <a:pt x="412" y="1092"/>
                  </a:lnTo>
                  <a:lnTo>
                    <a:pt x="402" y="1098"/>
                  </a:lnTo>
                  <a:lnTo>
                    <a:pt x="392" y="1100"/>
                  </a:lnTo>
                  <a:lnTo>
                    <a:pt x="384" y="1100"/>
                  </a:lnTo>
                  <a:lnTo>
                    <a:pt x="376" y="1100"/>
                  </a:lnTo>
                  <a:lnTo>
                    <a:pt x="360" y="1094"/>
                  </a:lnTo>
                  <a:lnTo>
                    <a:pt x="346" y="1084"/>
                  </a:lnTo>
                  <a:lnTo>
                    <a:pt x="330" y="1076"/>
                  </a:lnTo>
                  <a:lnTo>
                    <a:pt x="316" y="1070"/>
                  </a:lnTo>
                  <a:lnTo>
                    <a:pt x="306" y="1070"/>
                  </a:lnTo>
                  <a:lnTo>
                    <a:pt x="298" y="1070"/>
                  </a:lnTo>
                  <a:lnTo>
                    <a:pt x="288" y="1074"/>
                  </a:lnTo>
                  <a:lnTo>
                    <a:pt x="278" y="1078"/>
                  </a:lnTo>
                  <a:lnTo>
                    <a:pt x="272" y="1084"/>
                  </a:lnTo>
                  <a:lnTo>
                    <a:pt x="266" y="1092"/>
                  </a:lnTo>
                  <a:lnTo>
                    <a:pt x="264" y="1102"/>
                  </a:lnTo>
                  <a:lnTo>
                    <a:pt x="264" y="1114"/>
                  </a:lnTo>
                  <a:lnTo>
                    <a:pt x="266" y="1136"/>
                  </a:lnTo>
                  <a:lnTo>
                    <a:pt x="270" y="1158"/>
                  </a:lnTo>
                  <a:lnTo>
                    <a:pt x="402" y="1386"/>
                  </a:lnTo>
                  <a:lnTo>
                    <a:pt x="668" y="1386"/>
                  </a:lnTo>
                  <a:lnTo>
                    <a:pt x="674" y="1388"/>
                  </a:lnTo>
                  <a:lnTo>
                    <a:pt x="686" y="1392"/>
                  </a:lnTo>
                  <a:lnTo>
                    <a:pt x="688" y="1394"/>
                  </a:lnTo>
                  <a:lnTo>
                    <a:pt x="692" y="1394"/>
                  </a:lnTo>
                  <a:lnTo>
                    <a:pt x="694" y="1396"/>
                  </a:lnTo>
                  <a:lnTo>
                    <a:pt x="696" y="1398"/>
                  </a:lnTo>
                  <a:lnTo>
                    <a:pt x="700" y="1398"/>
                  </a:lnTo>
                  <a:lnTo>
                    <a:pt x="702" y="1400"/>
                  </a:lnTo>
                  <a:lnTo>
                    <a:pt x="704" y="1402"/>
                  </a:lnTo>
                  <a:lnTo>
                    <a:pt x="706" y="1402"/>
                  </a:lnTo>
                  <a:lnTo>
                    <a:pt x="710" y="1406"/>
                  </a:lnTo>
                  <a:lnTo>
                    <a:pt x="714" y="1410"/>
                  </a:lnTo>
                  <a:lnTo>
                    <a:pt x="716" y="1410"/>
                  </a:lnTo>
                  <a:lnTo>
                    <a:pt x="718" y="1412"/>
                  </a:lnTo>
                  <a:lnTo>
                    <a:pt x="720" y="1414"/>
                  </a:lnTo>
                  <a:lnTo>
                    <a:pt x="722" y="1416"/>
                  </a:lnTo>
                  <a:lnTo>
                    <a:pt x="722" y="1418"/>
                  </a:lnTo>
                  <a:lnTo>
                    <a:pt x="724" y="1420"/>
                  </a:lnTo>
                  <a:lnTo>
                    <a:pt x="724" y="1422"/>
                  </a:lnTo>
                  <a:lnTo>
                    <a:pt x="726" y="1424"/>
                  </a:lnTo>
                  <a:lnTo>
                    <a:pt x="726" y="1426"/>
                  </a:lnTo>
                  <a:lnTo>
                    <a:pt x="726" y="1430"/>
                  </a:lnTo>
                  <a:lnTo>
                    <a:pt x="726" y="1436"/>
                  </a:lnTo>
                  <a:lnTo>
                    <a:pt x="726" y="1438"/>
                  </a:lnTo>
                  <a:lnTo>
                    <a:pt x="726" y="1442"/>
                  </a:lnTo>
                  <a:lnTo>
                    <a:pt x="724" y="1444"/>
                  </a:lnTo>
                  <a:lnTo>
                    <a:pt x="724" y="1448"/>
                  </a:lnTo>
                  <a:lnTo>
                    <a:pt x="720" y="1458"/>
                  </a:lnTo>
                  <a:lnTo>
                    <a:pt x="716" y="1464"/>
                  </a:lnTo>
                  <a:lnTo>
                    <a:pt x="710" y="1470"/>
                  </a:lnTo>
                  <a:lnTo>
                    <a:pt x="704" y="1476"/>
                  </a:lnTo>
                  <a:lnTo>
                    <a:pt x="690" y="1484"/>
                  </a:lnTo>
                  <a:lnTo>
                    <a:pt x="676" y="1492"/>
                  </a:lnTo>
                  <a:lnTo>
                    <a:pt x="674" y="1494"/>
                  </a:lnTo>
                  <a:lnTo>
                    <a:pt x="672" y="1494"/>
                  </a:lnTo>
                  <a:lnTo>
                    <a:pt x="668" y="1498"/>
                  </a:lnTo>
                  <a:lnTo>
                    <a:pt x="666" y="1498"/>
                  </a:lnTo>
                  <a:lnTo>
                    <a:pt x="662" y="1502"/>
                  </a:lnTo>
                  <a:lnTo>
                    <a:pt x="660" y="1504"/>
                  </a:lnTo>
                  <a:lnTo>
                    <a:pt x="656" y="1508"/>
                  </a:lnTo>
                  <a:lnTo>
                    <a:pt x="652" y="1514"/>
                  </a:lnTo>
                  <a:lnTo>
                    <a:pt x="650" y="1522"/>
                  </a:lnTo>
                  <a:lnTo>
                    <a:pt x="648" y="1530"/>
                  </a:lnTo>
                  <a:lnTo>
                    <a:pt x="648" y="1532"/>
                  </a:lnTo>
                  <a:lnTo>
                    <a:pt x="646" y="1540"/>
                  </a:lnTo>
                  <a:lnTo>
                    <a:pt x="648" y="1552"/>
                  </a:lnTo>
                  <a:lnTo>
                    <a:pt x="650" y="1562"/>
                  </a:lnTo>
                  <a:lnTo>
                    <a:pt x="656" y="1572"/>
                  </a:lnTo>
                  <a:lnTo>
                    <a:pt x="662" y="1580"/>
                  </a:lnTo>
                  <a:lnTo>
                    <a:pt x="670" y="1588"/>
                  </a:lnTo>
                  <a:lnTo>
                    <a:pt x="680" y="1594"/>
                  </a:lnTo>
                  <a:lnTo>
                    <a:pt x="700" y="1606"/>
                  </a:lnTo>
                  <a:lnTo>
                    <a:pt x="724" y="1614"/>
                  </a:lnTo>
                  <a:lnTo>
                    <a:pt x="748" y="1620"/>
                  </a:lnTo>
                  <a:lnTo>
                    <a:pt x="770" y="1624"/>
                  </a:lnTo>
                  <a:lnTo>
                    <a:pt x="790" y="1624"/>
                  </a:lnTo>
                  <a:lnTo>
                    <a:pt x="810" y="1624"/>
                  </a:lnTo>
                  <a:lnTo>
                    <a:pt x="832" y="1620"/>
                  </a:lnTo>
                  <a:lnTo>
                    <a:pt x="856" y="1614"/>
                  </a:lnTo>
                  <a:lnTo>
                    <a:pt x="880" y="1606"/>
                  </a:lnTo>
                  <a:lnTo>
                    <a:pt x="902" y="1594"/>
                  </a:lnTo>
                  <a:lnTo>
                    <a:pt x="910" y="1588"/>
                  </a:lnTo>
                  <a:lnTo>
                    <a:pt x="918" y="1580"/>
                  </a:lnTo>
                  <a:lnTo>
                    <a:pt x="926" y="1572"/>
                  </a:lnTo>
                  <a:lnTo>
                    <a:pt x="930" y="1562"/>
                  </a:lnTo>
                  <a:lnTo>
                    <a:pt x="934" y="1552"/>
                  </a:lnTo>
                  <a:lnTo>
                    <a:pt x="934" y="1540"/>
                  </a:lnTo>
                  <a:lnTo>
                    <a:pt x="934" y="1532"/>
                  </a:lnTo>
                  <a:lnTo>
                    <a:pt x="934" y="1530"/>
                  </a:lnTo>
                  <a:lnTo>
                    <a:pt x="932" y="1522"/>
                  </a:lnTo>
                  <a:lnTo>
                    <a:pt x="930" y="1522"/>
                  </a:lnTo>
                  <a:lnTo>
                    <a:pt x="928" y="1514"/>
                  </a:lnTo>
                  <a:lnTo>
                    <a:pt x="924" y="1508"/>
                  </a:lnTo>
                  <a:lnTo>
                    <a:pt x="920" y="1504"/>
                  </a:lnTo>
                  <a:lnTo>
                    <a:pt x="918" y="1502"/>
                  </a:lnTo>
                  <a:lnTo>
                    <a:pt x="914" y="1498"/>
                  </a:lnTo>
                  <a:lnTo>
                    <a:pt x="912" y="1498"/>
                  </a:lnTo>
                  <a:lnTo>
                    <a:pt x="908" y="1494"/>
                  </a:lnTo>
                  <a:lnTo>
                    <a:pt x="906" y="1494"/>
                  </a:lnTo>
                  <a:lnTo>
                    <a:pt x="904" y="1492"/>
                  </a:lnTo>
                  <a:lnTo>
                    <a:pt x="890" y="1484"/>
                  </a:lnTo>
                  <a:lnTo>
                    <a:pt x="878" y="1476"/>
                  </a:lnTo>
                  <a:lnTo>
                    <a:pt x="866" y="1466"/>
                  </a:lnTo>
                  <a:lnTo>
                    <a:pt x="862" y="1460"/>
                  </a:lnTo>
                  <a:lnTo>
                    <a:pt x="858" y="1454"/>
                  </a:lnTo>
                  <a:lnTo>
                    <a:pt x="856" y="1448"/>
                  </a:lnTo>
                  <a:lnTo>
                    <a:pt x="856" y="1444"/>
                  </a:lnTo>
                  <a:lnTo>
                    <a:pt x="856" y="1442"/>
                  </a:lnTo>
                  <a:lnTo>
                    <a:pt x="854" y="1438"/>
                  </a:lnTo>
                  <a:lnTo>
                    <a:pt x="854" y="1436"/>
                  </a:lnTo>
                  <a:lnTo>
                    <a:pt x="854" y="1430"/>
                  </a:lnTo>
                  <a:lnTo>
                    <a:pt x="854" y="1426"/>
                  </a:lnTo>
                  <a:lnTo>
                    <a:pt x="856" y="1424"/>
                  </a:lnTo>
                  <a:lnTo>
                    <a:pt x="856" y="1422"/>
                  </a:lnTo>
                  <a:lnTo>
                    <a:pt x="856" y="1420"/>
                  </a:lnTo>
                  <a:lnTo>
                    <a:pt x="858" y="1418"/>
                  </a:lnTo>
                  <a:lnTo>
                    <a:pt x="860" y="1416"/>
                  </a:lnTo>
                  <a:lnTo>
                    <a:pt x="862" y="1414"/>
                  </a:lnTo>
                  <a:lnTo>
                    <a:pt x="862" y="1412"/>
                  </a:lnTo>
                  <a:lnTo>
                    <a:pt x="864" y="1410"/>
                  </a:lnTo>
                  <a:lnTo>
                    <a:pt x="866" y="1410"/>
                  </a:lnTo>
                  <a:lnTo>
                    <a:pt x="870" y="1406"/>
                  </a:lnTo>
                  <a:lnTo>
                    <a:pt x="874" y="1402"/>
                  </a:lnTo>
                  <a:lnTo>
                    <a:pt x="876" y="1402"/>
                  </a:lnTo>
                  <a:lnTo>
                    <a:pt x="880" y="1400"/>
                  </a:lnTo>
                  <a:lnTo>
                    <a:pt x="882" y="1398"/>
                  </a:lnTo>
                  <a:lnTo>
                    <a:pt x="884" y="1398"/>
                  </a:lnTo>
                  <a:lnTo>
                    <a:pt x="886" y="1396"/>
                  </a:lnTo>
                  <a:lnTo>
                    <a:pt x="890" y="1394"/>
                  </a:lnTo>
                  <a:lnTo>
                    <a:pt x="892" y="1394"/>
                  </a:lnTo>
                  <a:lnTo>
                    <a:pt x="894" y="1392"/>
                  </a:lnTo>
                  <a:lnTo>
                    <a:pt x="906" y="1388"/>
                  </a:lnTo>
                  <a:lnTo>
                    <a:pt x="908" y="1388"/>
                  </a:lnTo>
                  <a:lnTo>
                    <a:pt x="912" y="1386"/>
                  </a:lnTo>
                  <a:lnTo>
                    <a:pt x="1200" y="1386"/>
                  </a:lnTo>
                  <a:lnTo>
                    <a:pt x="1200" y="1384"/>
                  </a:lnTo>
                  <a:lnTo>
                    <a:pt x="1600" y="694"/>
                  </a:lnTo>
                  <a:lnTo>
                    <a:pt x="1200" y="0"/>
                  </a:lnTo>
                  <a:close/>
                </a:path>
              </a:pathLst>
            </a:custGeom>
            <a:solidFill>
              <a:srgbClr val="FBFB37"/>
            </a:solidFill>
            <a:ln w="38100" cap="flat" cmpd="sng">
              <a:solidFill>
                <a:srgbClr val="5F5F5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E"/>
            </a:p>
          </p:txBody>
        </p:sp>
        <p:sp>
          <p:nvSpPr>
            <p:cNvPr id="28690" name="Text Box 8"/>
            <p:cNvSpPr txBox="1">
              <a:spLocks noChangeArrowheads="1"/>
            </p:cNvSpPr>
            <p:nvPr/>
          </p:nvSpPr>
          <p:spPr bwMode="auto">
            <a:xfrm>
              <a:off x="3805" y="1643"/>
              <a:ext cx="785" cy="5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5F5F5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IE" b="1">
                  <a:solidFill>
                    <a:srgbClr val="000000"/>
                  </a:solidFill>
                  <a:cs typeface="Arial" charset="0"/>
                </a:rPr>
                <a:t>Cold Chain Supplier</a:t>
              </a:r>
              <a:endParaRPr lang="en-GB" b="1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247817" name="Group 9"/>
          <p:cNvGrpSpPr>
            <a:grpSpLocks/>
          </p:cNvGrpSpPr>
          <p:nvPr/>
        </p:nvGrpSpPr>
        <p:grpSpPr bwMode="auto">
          <a:xfrm>
            <a:off x="6910388" y="4224338"/>
            <a:ext cx="1739900" cy="1503362"/>
            <a:chOff x="3632" y="2767"/>
            <a:chExt cx="1096" cy="947"/>
          </a:xfrm>
        </p:grpSpPr>
        <p:sp>
          <p:nvSpPr>
            <p:cNvPr id="28687" name="Freeform 10"/>
            <p:cNvSpPr>
              <a:spLocks/>
            </p:cNvSpPr>
            <p:nvPr/>
          </p:nvSpPr>
          <p:spPr bwMode="auto">
            <a:xfrm>
              <a:off x="3632" y="2767"/>
              <a:ext cx="1096" cy="947"/>
            </a:xfrm>
            <a:custGeom>
              <a:avLst/>
              <a:gdLst>
                <a:gd name="T0" fmla="*/ 200 w 1600"/>
                <a:gd name="T1" fmla="*/ 1 h 1382"/>
                <a:gd name="T2" fmla="*/ 197 w 1600"/>
                <a:gd name="T3" fmla="*/ 2 h 1382"/>
                <a:gd name="T4" fmla="*/ 195 w 1600"/>
                <a:gd name="T5" fmla="*/ 3 h 1382"/>
                <a:gd name="T6" fmla="*/ 193 w 1600"/>
                <a:gd name="T7" fmla="*/ 3 h 1382"/>
                <a:gd name="T8" fmla="*/ 191 w 1600"/>
                <a:gd name="T9" fmla="*/ 5 h 1382"/>
                <a:gd name="T10" fmla="*/ 190 w 1600"/>
                <a:gd name="T11" fmla="*/ 6 h 1382"/>
                <a:gd name="T12" fmla="*/ 189 w 1600"/>
                <a:gd name="T13" fmla="*/ 8 h 1382"/>
                <a:gd name="T14" fmla="*/ 188 w 1600"/>
                <a:gd name="T15" fmla="*/ 9 h 1382"/>
                <a:gd name="T16" fmla="*/ 188 w 1600"/>
                <a:gd name="T17" fmla="*/ 10 h 1382"/>
                <a:gd name="T18" fmla="*/ 188 w 1600"/>
                <a:gd name="T19" fmla="*/ 13 h 1382"/>
                <a:gd name="T20" fmla="*/ 188 w 1600"/>
                <a:gd name="T21" fmla="*/ 14 h 1382"/>
                <a:gd name="T22" fmla="*/ 190 w 1600"/>
                <a:gd name="T23" fmla="*/ 18 h 1382"/>
                <a:gd name="T24" fmla="*/ 199 w 1600"/>
                <a:gd name="T25" fmla="*/ 24 h 1382"/>
                <a:gd name="T26" fmla="*/ 201 w 1600"/>
                <a:gd name="T27" fmla="*/ 25 h 1382"/>
                <a:gd name="T28" fmla="*/ 203 w 1600"/>
                <a:gd name="T29" fmla="*/ 27 h 1382"/>
                <a:gd name="T30" fmla="*/ 205 w 1600"/>
                <a:gd name="T31" fmla="*/ 29 h 1382"/>
                <a:gd name="T32" fmla="*/ 206 w 1600"/>
                <a:gd name="T33" fmla="*/ 32 h 1382"/>
                <a:gd name="T34" fmla="*/ 206 w 1600"/>
                <a:gd name="T35" fmla="*/ 34 h 1382"/>
                <a:gd name="T36" fmla="*/ 200 w 1600"/>
                <a:gd name="T37" fmla="*/ 45 h 1382"/>
                <a:gd name="T38" fmla="*/ 174 w 1600"/>
                <a:gd name="T39" fmla="*/ 53 h 1382"/>
                <a:gd name="T40" fmla="*/ 150 w 1600"/>
                <a:gd name="T41" fmla="*/ 47 h 1382"/>
                <a:gd name="T42" fmla="*/ 142 w 1600"/>
                <a:gd name="T43" fmla="*/ 34 h 1382"/>
                <a:gd name="T44" fmla="*/ 142 w 1600"/>
                <a:gd name="T45" fmla="*/ 32 h 1382"/>
                <a:gd name="T46" fmla="*/ 143 w 1600"/>
                <a:gd name="T47" fmla="*/ 31 h 1382"/>
                <a:gd name="T48" fmla="*/ 145 w 1600"/>
                <a:gd name="T49" fmla="*/ 27 h 1382"/>
                <a:gd name="T50" fmla="*/ 145 w 1600"/>
                <a:gd name="T51" fmla="*/ 26 h 1382"/>
                <a:gd name="T52" fmla="*/ 148 w 1600"/>
                <a:gd name="T53" fmla="*/ 24 h 1382"/>
                <a:gd name="T54" fmla="*/ 154 w 1600"/>
                <a:gd name="T55" fmla="*/ 20 h 1382"/>
                <a:gd name="T56" fmla="*/ 160 w 1600"/>
                <a:gd name="T57" fmla="*/ 14 h 1382"/>
                <a:gd name="T58" fmla="*/ 160 w 1600"/>
                <a:gd name="T59" fmla="*/ 13 h 1382"/>
                <a:gd name="T60" fmla="*/ 160 w 1600"/>
                <a:gd name="T61" fmla="*/ 10 h 1382"/>
                <a:gd name="T62" fmla="*/ 160 w 1600"/>
                <a:gd name="T63" fmla="*/ 9 h 1382"/>
                <a:gd name="T64" fmla="*/ 159 w 1600"/>
                <a:gd name="T65" fmla="*/ 8 h 1382"/>
                <a:gd name="T66" fmla="*/ 158 w 1600"/>
                <a:gd name="T67" fmla="*/ 6 h 1382"/>
                <a:gd name="T68" fmla="*/ 156 w 1600"/>
                <a:gd name="T69" fmla="*/ 5 h 1382"/>
                <a:gd name="T70" fmla="*/ 155 w 1600"/>
                <a:gd name="T71" fmla="*/ 3 h 1382"/>
                <a:gd name="T72" fmla="*/ 153 w 1600"/>
                <a:gd name="T73" fmla="*/ 3 h 1382"/>
                <a:gd name="T74" fmla="*/ 151 w 1600"/>
                <a:gd name="T75" fmla="*/ 2 h 1382"/>
                <a:gd name="T76" fmla="*/ 148 w 1600"/>
                <a:gd name="T77" fmla="*/ 1 h 1382"/>
                <a:gd name="T78" fmla="*/ 88 w 1600"/>
                <a:gd name="T79" fmla="*/ 1 h 1382"/>
                <a:gd name="T80" fmla="*/ 58 w 1600"/>
                <a:gd name="T81" fmla="*/ 66 h 1382"/>
                <a:gd name="T82" fmla="*/ 66 w 1600"/>
                <a:gd name="T83" fmla="*/ 71 h 1382"/>
                <a:gd name="T84" fmla="*/ 84 w 1600"/>
                <a:gd name="T85" fmla="*/ 64 h 1382"/>
                <a:gd name="T86" fmla="*/ 93 w 1600"/>
                <a:gd name="T87" fmla="*/ 69 h 1382"/>
                <a:gd name="T88" fmla="*/ 95 w 1600"/>
                <a:gd name="T89" fmla="*/ 89 h 1382"/>
                <a:gd name="T90" fmla="*/ 84 w 1600"/>
                <a:gd name="T91" fmla="*/ 110 h 1382"/>
                <a:gd name="T92" fmla="*/ 65 w 1600"/>
                <a:gd name="T93" fmla="*/ 123 h 1382"/>
                <a:gd name="T94" fmla="*/ 54 w 1600"/>
                <a:gd name="T95" fmla="*/ 118 h 1382"/>
                <a:gd name="T96" fmla="*/ 51 w 1600"/>
                <a:gd name="T97" fmla="*/ 100 h 1382"/>
                <a:gd name="T98" fmla="*/ 45 w 1600"/>
                <a:gd name="T99" fmla="*/ 93 h 1382"/>
                <a:gd name="T100" fmla="*/ 1 w 1600"/>
                <a:gd name="T101" fmla="*/ 152 h 1382"/>
                <a:gd name="T102" fmla="*/ 32 w 1600"/>
                <a:gd name="T103" fmla="*/ 205 h 1382"/>
                <a:gd name="T104" fmla="*/ 44 w 1600"/>
                <a:gd name="T105" fmla="*/ 210 h 1382"/>
                <a:gd name="T106" fmla="*/ 50 w 1600"/>
                <a:gd name="T107" fmla="*/ 204 h 1382"/>
                <a:gd name="T108" fmla="*/ 53 w 1600"/>
                <a:gd name="T109" fmla="*/ 186 h 1382"/>
                <a:gd name="T110" fmla="*/ 63 w 1600"/>
                <a:gd name="T111" fmla="*/ 181 h 1382"/>
                <a:gd name="T112" fmla="*/ 82 w 1600"/>
                <a:gd name="T113" fmla="*/ 190 h 1382"/>
                <a:gd name="T114" fmla="*/ 93 w 1600"/>
                <a:gd name="T115" fmla="*/ 209 h 1382"/>
                <a:gd name="T116" fmla="*/ 95 w 1600"/>
                <a:gd name="T117" fmla="*/ 232 h 1382"/>
                <a:gd name="T118" fmla="*/ 83 w 1600"/>
                <a:gd name="T119" fmla="*/ 239 h 1382"/>
                <a:gd name="T120" fmla="*/ 68 w 1600"/>
                <a:gd name="T121" fmla="*/ 233 h 1382"/>
                <a:gd name="T122" fmla="*/ 58 w 1600"/>
                <a:gd name="T123" fmla="*/ 236 h 1382"/>
                <a:gd name="T124" fmla="*/ 88 w 1600"/>
                <a:gd name="T125" fmla="*/ 305 h 13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600" h="1382">
                  <a:moveTo>
                    <a:pt x="1200" y="2"/>
                  </a:moveTo>
                  <a:lnTo>
                    <a:pt x="912" y="2"/>
                  </a:lnTo>
                  <a:lnTo>
                    <a:pt x="908" y="4"/>
                  </a:lnTo>
                  <a:lnTo>
                    <a:pt x="906" y="4"/>
                  </a:lnTo>
                  <a:lnTo>
                    <a:pt x="894" y="8"/>
                  </a:lnTo>
                  <a:lnTo>
                    <a:pt x="892" y="10"/>
                  </a:lnTo>
                  <a:lnTo>
                    <a:pt x="890" y="10"/>
                  </a:lnTo>
                  <a:lnTo>
                    <a:pt x="886" y="12"/>
                  </a:lnTo>
                  <a:lnTo>
                    <a:pt x="884" y="14"/>
                  </a:lnTo>
                  <a:lnTo>
                    <a:pt x="882" y="14"/>
                  </a:lnTo>
                  <a:lnTo>
                    <a:pt x="880" y="16"/>
                  </a:lnTo>
                  <a:lnTo>
                    <a:pt x="876" y="18"/>
                  </a:lnTo>
                  <a:lnTo>
                    <a:pt x="874" y="18"/>
                  </a:lnTo>
                  <a:lnTo>
                    <a:pt x="870" y="22"/>
                  </a:lnTo>
                  <a:lnTo>
                    <a:pt x="866" y="26"/>
                  </a:lnTo>
                  <a:lnTo>
                    <a:pt x="864" y="26"/>
                  </a:lnTo>
                  <a:lnTo>
                    <a:pt x="862" y="28"/>
                  </a:lnTo>
                  <a:lnTo>
                    <a:pt x="862" y="30"/>
                  </a:lnTo>
                  <a:lnTo>
                    <a:pt x="860" y="32"/>
                  </a:lnTo>
                  <a:lnTo>
                    <a:pt x="858" y="34"/>
                  </a:lnTo>
                  <a:lnTo>
                    <a:pt x="856" y="36"/>
                  </a:lnTo>
                  <a:lnTo>
                    <a:pt x="856" y="38"/>
                  </a:lnTo>
                  <a:lnTo>
                    <a:pt x="856" y="40"/>
                  </a:lnTo>
                  <a:lnTo>
                    <a:pt x="854" y="42"/>
                  </a:lnTo>
                  <a:lnTo>
                    <a:pt x="854" y="46"/>
                  </a:lnTo>
                  <a:lnTo>
                    <a:pt x="854" y="52"/>
                  </a:lnTo>
                  <a:lnTo>
                    <a:pt x="854" y="54"/>
                  </a:lnTo>
                  <a:lnTo>
                    <a:pt x="856" y="58"/>
                  </a:lnTo>
                  <a:lnTo>
                    <a:pt x="856" y="60"/>
                  </a:lnTo>
                  <a:lnTo>
                    <a:pt x="856" y="64"/>
                  </a:lnTo>
                  <a:lnTo>
                    <a:pt x="858" y="70"/>
                  </a:lnTo>
                  <a:lnTo>
                    <a:pt x="862" y="76"/>
                  </a:lnTo>
                  <a:lnTo>
                    <a:pt x="866" y="82"/>
                  </a:lnTo>
                  <a:lnTo>
                    <a:pt x="878" y="92"/>
                  </a:lnTo>
                  <a:lnTo>
                    <a:pt x="890" y="100"/>
                  </a:lnTo>
                  <a:lnTo>
                    <a:pt x="904" y="108"/>
                  </a:lnTo>
                  <a:lnTo>
                    <a:pt x="906" y="110"/>
                  </a:lnTo>
                  <a:lnTo>
                    <a:pt x="908" y="110"/>
                  </a:lnTo>
                  <a:lnTo>
                    <a:pt x="912" y="114"/>
                  </a:lnTo>
                  <a:lnTo>
                    <a:pt x="914" y="114"/>
                  </a:lnTo>
                  <a:lnTo>
                    <a:pt x="918" y="118"/>
                  </a:lnTo>
                  <a:lnTo>
                    <a:pt x="920" y="120"/>
                  </a:lnTo>
                  <a:lnTo>
                    <a:pt x="924" y="124"/>
                  </a:lnTo>
                  <a:lnTo>
                    <a:pt x="928" y="130"/>
                  </a:lnTo>
                  <a:lnTo>
                    <a:pt x="930" y="138"/>
                  </a:lnTo>
                  <a:lnTo>
                    <a:pt x="932" y="138"/>
                  </a:lnTo>
                  <a:lnTo>
                    <a:pt x="934" y="146"/>
                  </a:lnTo>
                  <a:lnTo>
                    <a:pt x="934" y="148"/>
                  </a:lnTo>
                  <a:lnTo>
                    <a:pt x="934" y="156"/>
                  </a:lnTo>
                  <a:lnTo>
                    <a:pt x="934" y="168"/>
                  </a:lnTo>
                  <a:lnTo>
                    <a:pt x="930" y="178"/>
                  </a:lnTo>
                  <a:lnTo>
                    <a:pt x="926" y="188"/>
                  </a:lnTo>
                  <a:lnTo>
                    <a:pt x="918" y="196"/>
                  </a:lnTo>
                  <a:lnTo>
                    <a:pt x="910" y="204"/>
                  </a:lnTo>
                  <a:lnTo>
                    <a:pt x="902" y="210"/>
                  </a:lnTo>
                  <a:lnTo>
                    <a:pt x="880" y="222"/>
                  </a:lnTo>
                  <a:lnTo>
                    <a:pt x="856" y="230"/>
                  </a:lnTo>
                  <a:lnTo>
                    <a:pt x="832" y="236"/>
                  </a:lnTo>
                  <a:lnTo>
                    <a:pt x="810" y="240"/>
                  </a:lnTo>
                  <a:lnTo>
                    <a:pt x="790" y="240"/>
                  </a:lnTo>
                  <a:lnTo>
                    <a:pt x="770" y="240"/>
                  </a:lnTo>
                  <a:lnTo>
                    <a:pt x="748" y="236"/>
                  </a:lnTo>
                  <a:lnTo>
                    <a:pt x="724" y="230"/>
                  </a:lnTo>
                  <a:lnTo>
                    <a:pt x="700" y="222"/>
                  </a:lnTo>
                  <a:lnTo>
                    <a:pt x="680" y="210"/>
                  </a:lnTo>
                  <a:lnTo>
                    <a:pt x="670" y="204"/>
                  </a:lnTo>
                  <a:lnTo>
                    <a:pt x="662" y="196"/>
                  </a:lnTo>
                  <a:lnTo>
                    <a:pt x="656" y="188"/>
                  </a:lnTo>
                  <a:lnTo>
                    <a:pt x="650" y="178"/>
                  </a:lnTo>
                  <a:lnTo>
                    <a:pt x="648" y="168"/>
                  </a:lnTo>
                  <a:lnTo>
                    <a:pt x="646" y="156"/>
                  </a:lnTo>
                  <a:lnTo>
                    <a:pt x="648" y="148"/>
                  </a:lnTo>
                  <a:lnTo>
                    <a:pt x="648" y="146"/>
                  </a:lnTo>
                  <a:lnTo>
                    <a:pt x="650" y="138"/>
                  </a:lnTo>
                  <a:lnTo>
                    <a:pt x="652" y="130"/>
                  </a:lnTo>
                  <a:lnTo>
                    <a:pt x="656" y="124"/>
                  </a:lnTo>
                  <a:lnTo>
                    <a:pt x="660" y="120"/>
                  </a:lnTo>
                  <a:lnTo>
                    <a:pt x="662" y="118"/>
                  </a:lnTo>
                  <a:lnTo>
                    <a:pt x="666" y="114"/>
                  </a:lnTo>
                  <a:lnTo>
                    <a:pt x="668" y="114"/>
                  </a:lnTo>
                  <a:lnTo>
                    <a:pt x="672" y="110"/>
                  </a:lnTo>
                  <a:lnTo>
                    <a:pt x="674" y="110"/>
                  </a:lnTo>
                  <a:lnTo>
                    <a:pt x="676" y="108"/>
                  </a:lnTo>
                  <a:lnTo>
                    <a:pt x="690" y="100"/>
                  </a:lnTo>
                  <a:lnTo>
                    <a:pt x="702" y="92"/>
                  </a:lnTo>
                  <a:lnTo>
                    <a:pt x="714" y="82"/>
                  </a:lnTo>
                  <a:lnTo>
                    <a:pt x="718" y="76"/>
                  </a:lnTo>
                  <a:lnTo>
                    <a:pt x="722" y="70"/>
                  </a:lnTo>
                  <a:lnTo>
                    <a:pt x="724" y="64"/>
                  </a:lnTo>
                  <a:lnTo>
                    <a:pt x="724" y="60"/>
                  </a:lnTo>
                  <a:lnTo>
                    <a:pt x="726" y="58"/>
                  </a:lnTo>
                  <a:lnTo>
                    <a:pt x="726" y="54"/>
                  </a:lnTo>
                  <a:lnTo>
                    <a:pt x="726" y="52"/>
                  </a:lnTo>
                  <a:lnTo>
                    <a:pt x="726" y="46"/>
                  </a:lnTo>
                  <a:lnTo>
                    <a:pt x="726" y="42"/>
                  </a:lnTo>
                  <a:lnTo>
                    <a:pt x="726" y="40"/>
                  </a:lnTo>
                  <a:lnTo>
                    <a:pt x="724" y="38"/>
                  </a:lnTo>
                  <a:lnTo>
                    <a:pt x="724" y="36"/>
                  </a:lnTo>
                  <a:lnTo>
                    <a:pt x="722" y="34"/>
                  </a:lnTo>
                  <a:lnTo>
                    <a:pt x="722" y="32"/>
                  </a:lnTo>
                  <a:lnTo>
                    <a:pt x="720" y="30"/>
                  </a:lnTo>
                  <a:lnTo>
                    <a:pt x="718" y="28"/>
                  </a:lnTo>
                  <a:lnTo>
                    <a:pt x="716" y="26"/>
                  </a:lnTo>
                  <a:lnTo>
                    <a:pt x="714" y="26"/>
                  </a:lnTo>
                  <a:lnTo>
                    <a:pt x="710" y="22"/>
                  </a:lnTo>
                  <a:lnTo>
                    <a:pt x="706" y="18"/>
                  </a:lnTo>
                  <a:lnTo>
                    <a:pt x="704" y="18"/>
                  </a:lnTo>
                  <a:lnTo>
                    <a:pt x="702" y="16"/>
                  </a:lnTo>
                  <a:lnTo>
                    <a:pt x="700" y="14"/>
                  </a:lnTo>
                  <a:lnTo>
                    <a:pt x="696" y="14"/>
                  </a:lnTo>
                  <a:lnTo>
                    <a:pt x="694" y="12"/>
                  </a:lnTo>
                  <a:lnTo>
                    <a:pt x="692" y="10"/>
                  </a:lnTo>
                  <a:lnTo>
                    <a:pt x="688" y="10"/>
                  </a:lnTo>
                  <a:lnTo>
                    <a:pt x="686" y="8"/>
                  </a:lnTo>
                  <a:lnTo>
                    <a:pt x="674" y="4"/>
                  </a:lnTo>
                  <a:lnTo>
                    <a:pt x="668" y="2"/>
                  </a:lnTo>
                  <a:lnTo>
                    <a:pt x="402" y="2"/>
                  </a:lnTo>
                  <a:lnTo>
                    <a:pt x="264" y="238"/>
                  </a:lnTo>
                  <a:lnTo>
                    <a:pt x="260" y="260"/>
                  </a:lnTo>
                  <a:lnTo>
                    <a:pt x="260" y="282"/>
                  </a:lnTo>
                  <a:lnTo>
                    <a:pt x="260" y="292"/>
                  </a:lnTo>
                  <a:lnTo>
                    <a:pt x="262" y="300"/>
                  </a:lnTo>
                  <a:lnTo>
                    <a:pt x="268" y="308"/>
                  </a:lnTo>
                  <a:lnTo>
                    <a:pt x="274" y="314"/>
                  </a:lnTo>
                  <a:lnTo>
                    <a:pt x="284" y="318"/>
                  </a:lnTo>
                  <a:lnTo>
                    <a:pt x="294" y="322"/>
                  </a:lnTo>
                  <a:lnTo>
                    <a:pt x="302" y="322"/>
                  </a:lnTo>
                  <a:lnTo>
                    <a:pt x="312" y="322"/>
                  </a:lnTo>
                  <a:lnTo>
                    <a:pt x="326" y="316"/>
                  </a:lnTo>
                  <a:lnTo>
                    <a:pt x="342" y="308"/>
                  </a:lnTo>
                  <a:lnTo>
                    <a:pt x="356" y="298"/>
                  </a:lnTo>
                  <a:lnTo>
                    <a:pt x="372" y="292"/>
                  </a:lnTo>
                  <a:lnTo>
                    <a:pt x="380" y="292"/>
                  </a:lnTo>
                  <a:lnTo>
                    <a:pt x="388" y="292"/>
                  </a:lnTo>
                  <a:lnTo>
                    <a:pt x="398" y="294"/>
                  </a:lnTo>
                  <a:lnTo>
                    <a:pt x="408" y="300"/>
                  </a:lnTo>
                  <a:lnTo>
                    <a:pt x="418" y="306"/>
                  </a:lnTo>
                  <a:lnTo>
                    <a:pt x="424" y="314"/>
                  </a:lnTo>
                  <a:lnTo>
                    <a:pt x="430" y="322"/>
                  </a:lnTo>
                  <a:lnTo>
                    <a:pt x="434" y="332"/>
                  </a:lnTo>
                  <a:lnTo>
                    <a:pt x="438" y="344"/>
                  </a:lnTo>
                  <a:lnTo>
                    <a:pt x="438" y="354"/>
                  </a:lnTo>
                  <a:lnTo>
                    <a:pt x="438" y="380"/>
                  </a:lnTo>
                  <a:lnTo>
                    <a:pt x="434" y="404"/>
                  </a:lnTo>
                  <a:lnTo>
                    <a:pt x="426" y="428"/>
                  </a:lnTo>
                  <a:lnTo>
                    <a:pt x="418" y="448"/>
                  </a:lnTo>
                  <a:lnTo>
                    <a:pt x="410" y="466"/>
                  </a:lnTo>
                  <a:lnTo>
                    <a:pt x="398" y="482"/>
                  </a:lnTo>
                  <a:lnTo>
                    <a:pt x="384" y="500"/>
                  </a:lnTo>
                  <a:lnTo>
                    <a:pt x="368" y="518"/>
                  </a:lnTo>
                  <a:lnTo>
                    <a:pt x="348" y="534"/>
                  </a:lnTo>
                  <a:lnTo>
                    <a:pt x="328" y="548"/>
                  </a:lnTo>
                  <a:lnTo>
                    <a:pt x="318" y="552"/>
                  </a:lnTo>
                  <a:lnTo>
                    <a:pt x="306" y="554"/>
                  </a:lnTo>
                  <a:lnTo>
                    <a:pt x="296" y="556"/>
                  </a:lnTo>
                  <a:lnTo>
                    <a:pt x="284" y="556"/>
                  </a:lnTo>
                  <a:lnTo>
                    <a:pt x="274" y="554"/>
                  </a:lnTo>
                  <a:lnTo>
                    <a:pt x="264" y="548"/>
                  </a:lnTo>
                  <a:lnTo>
                    <a:pt x="256" y="542"/>
                  </a:lnTo>
                  <a:lnTo>
                    <a:pt x="248" y="534"/>
                  </a:lnTo>
                  <a:lnTo>
                    <a:pt x="244" y="528"/>
                  </a:lnTo>
                  <a:lnTo>
                    <a:pt x="240" y="520"/>
                  </a:lnTo>
                  <a:lnTo>
                    <a:pt x="238" y="504"/>
                  </a:lnTo>
                  <a:lnTo>
                    <a:pt x="238" y="486"/>
                  </a:lnTo>
                  <a:lnTo>
                    <a:pt x="238" y="470"/>
                  </a:lnTo>
                  <a:lnTo>
                    <a:pt x="234" y="454"/>
                  </a:lnTo>
                  <a:lnTo>
                    <a:pt x="232" y="446"/>
                  </a:lnTo>
                  <a:lnTo>
                    <a:pt x="226" y="438"/>
                  </a:lnTo>
                  <a:lnTo>
                    <a:pt x="218" y="430"/>
                  </a:lnTo>
                  <a:lnTo>
                    <a:pt x="210" y="424"/>
                  </a:lnTo>
                  <a:lnTo>
                    <a:pt x="202" y="422"/>
                  </a:lnTo>
                  <a:lnTo>
                    <a:pt x="194" y="422"/>
                  </a:lnTo>
                  <a:lnTo>
                    <a:pt x="184" y="424"/>
                  </a:lnTo>
                  <a:lnTo>
                    <a:pt x="174" y="428"/>
                  </a:lnTo>
                  <a:lnTo>
                    <a:pt x="156" y="440"/>
                  </a:lnTo>
                  <a:lnTo>
                    <a:pt x="140" y="454"/>
                  </a:lnTo>
                  <a:lnTo>
                    <a:pt x="4" y="690"/>
                  </a:lnTo>
                  <a:lnTo>
                    <a:pt x="0" y="690"/>
                  </a:lnTo>
                  <a:lnTo>
                    <a:pt x="2" y="694"/>
                  </a:lnTo>
                  <a:lnTo>
                    <a:pt x="4" y="694"/>
                  </a:lnTo>
                  <a:lnTo>
                    <a:pt x="132" y="918"/>
                  </a:lnTo>
                  <a:lnTo>
                    <a:pt x="146" y="930"/>
                  </a:lnTo>
                  <a:lnTo>
                    <a:pt x="160" y="942"/>
                  </a:lnTo>
                  <a:lnTo>
                    <a:pt x="176" y="950"/>
                  </a:lnTo>
                  <a:lnTo>
                    <a:pt x="184" y="954"/>
                  </a:lnTo>
                  <a:lnTo>
                    <a:pt x="192" y="954"/>
                  </a:lnTo>
                  <a:lnTo>
                    <a:pt x="198" y="954"/>
                  </a:lnTo>
                  <a:lnTo>
                    <a:pt x="202" y="952"/>
                  </a:lnTo>
                  <a:lnTo>
                    <a:pt x="212" y="944"/>
                  </a:lnTo>
                  <a:lnTo>
                    <a:pt x="220" y="938"/>
                  </a:lnTo>
                  <a:lnTo>
                    <a:pt x="224" y="930"/>
                  </a:lnTo>
                  <a:lnTo>
                    <a:pt x="228" y="922"/>
                  </a:lnTo>
                  <a:lnTo>
                    <a:pt x="230" y="906"/>
                  </a:lnTo>
                  <a:lnTo>
                    <a:pt x="230" y="890"/>
                  </a:lnTo>
                  <a:lnTo>
                    <a:pt x="230" y="872"/>
                  </a:lnTo>
                  <a:lnTo>
                    <a:pt x="234" y="856"/>
                  </a:lnTo>
                  <a:lnTo>
                    <a:pt x="236" y="848"/>
                  </a:lnTo>
                  <a:lnTo>
                    <a:pt x="242" y="842"/>
                  </a:lnTo>
                  <a:lnTo>
                    <a:pt x="248" y="834"/>
                  </a:lnTo>
                  <a:lnTo>
                    <a:pt x="258" y="828"/>
                  </a:lnTo>
                  <a:lnTo>
                    <a:pt x="272" y="822"/>
                  </a:lnTo>
                  <a:lnTo>
                    <a:pt x="286" y="820"/>
                  </a:lnTo>
                  <a:lnTo>
                    <a:pt x="296" y="820"/>
                  </a:lnTo>
                  <a:lnTo>
                    <a:pt x="304" y="822"/>
                  </a:lnTo>
                  <a:lnTo>
                    <a:pt x="322" y="828"/>
                  </a:lnTo>
                  <a:lnTo>
                    <a:pt x="340" y="838"/>
                  </a:lnTo>
                  <a:lnTo>
                    <a:pt x="358" y="852"/>
                  </a:lnTo>
                  <a:lnTo>
                    <a:pt x="372" y="866"/>
                  </a:lnTo>
                  <a:lnTo>
                    <a:pt x="386" y="882"/>
                  </a:lnTo>
                  <a:lnTo>
                    <a:pt x="398" y="896"/>
                  </a:lnTo>
                  <a:lnTo>
                    <a:pt x="406" y="910"/>
                  </a:lnTo>
                  <a:lnTo>
                    <a:pt x="414" y="928"/>
                  </a:lnTo>
                  <a:lnTo>
                    <a:pt x="424" y="948"/>
                  </a:lnTo>
                  <a:lnTo>
                    <a:pt x="430" y="972"/>
                  </a:lnTo>
                  <a:lnTo>
                    <a:pt x="434" y="996"/>
                  </a:lnTo>
                  <a:lnTo>
                    <a:pt x="436" y="1022"/>
                  </a:lnTo>
                  <a:lnTo>
                    <a:pt x="434" y="1032"/>
                  </a:lnTo>
                  <a:lnTo>
                    <a:pt x="432" y="1044"/>
                  </a:lnTo>
                  <a:lnTo>
                    <a:pt x="428" y="1054"/>
                  </a:lnTo>
                  <a:lnTo>
                    <a:pt x="422" y="1062"/>
                  </a:lnTo>
                  <a:lnTo>
                    <a:pt x="414" y="1070"/>
                  </a:lnTo>
                  <a:lnTo>
                    <a:pt x="404" y="1076"/>
                  </a:lnTo>
                  <a:lnTo>
                    <a:pt x="390" y="1082"/>
                  </a:lnTo>
                  <a:lnTo>
                    <a:pt x="376" y="1084"/>
                  </a:lnTo>
                  <a:lnTo>
                    <a:pt x="366" y="1084"/>
                  </a:lnTo>
                  <a:lnTo>
                    <a:pt x="354" y="1080"/>
                  </a:lnTo>
                  <a:lnTo>
                    <a:pt x="336" y="1070"/>
                  </a:lnTo>
                  <a:lnTo>
                    <a:pt x="318" y="1060"/>
                  </a:lnTo>
                  <a:lnTo>
                    <a:pt x="308" y="1056"/>
                  </a:lnTo>
                  <a:lnTo>
                    <a:pt x="296" y="1054"/>
                  </a:lnTo>
                  <a:lnTo>
                    <a:pt x="284" y="1056"/>
                  </a:lnTo>
                  <a:lnTo>
                    <a:pt x="270" y="1062"/>
                  </a:lnTo>
                  <a:lnTo>
                    <a:pt x="264" y="1068"/>
                  </a:lnTo>
                  <a:lnTo>
                    <a:pt x="258" y="1076"/>
                  </a:lnTo>
                  <a:lnTo>
                    <a:pt x="256" y="1086"/>
                  </a:lnTo>
                  <a:lnTo>
                    <a:pt x="256" y="1096"/>
                  </a:lnTo>
                  <a:lnTo>
                    <a:pt x="258" y="1120"/>
                  </a:lnTo>
                  <a:lnTo>
                    <a:pt x="262" y="1142"/>
                  </a:lnTo>
                  <a:lnTo>
                    <a:pt x="402" y="1382"/>
                  </a:lnTo>
                  <a:lnTo>
                    <a:pt x="1200" y="1382"/>
                  </a:lnTo>
                  <a:lnTo>
                    <a:pt x="1600" y="690"/>
                  </a:lnTo>
                  <a:lnTo>
                    <a:pt x="1200" y="0"/>
                  </a:lnTo>
                  <a:lnTo>
                    <a:pt x="1200" y="2"/>
                  </a:lnTo>
                  <a:close/>
                </a:path>
              </a:pathLst>
            </a:custGeom>
            <a:solidFill>
              <a:schemeClr val="bg2"/>
            </a:solidFill>
            <a:ln w="38100" cap="flat" cmpd="sng">
              <a:solidFill>
                <a:srgbClr val="5F5F5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E"/>
            </a:p>
          </p:txBody>
        </p:sp>
        <p:sp>
          <p:nvSpPr>
            <p:cNvPr id="28688" name="Text Box 11"/>
            <p:cNvSpPr txBox="1">
              <a:spLocks noChangeArrowheads="1"/>
            </p:cNvSpPr>
            <p:nvPr/>
          </p:nvSpPr>
          <p:spPr bwMode="auto">
            <a:xfrm>
              <a:off x="3805" y="3123"/>
              <a:ext cx="785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5F5F5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GB" b="1">
                  <a:solidFill>
                    <a:srgbClr val="000000"/>
                  </a:solidFill>
                  <a:cs typeface="Arial" charset="0"/>
                </a:rPr>
                <a:t>Hospital</a:t>
              </a:r>
            </a:p>
          </p:txBody>
        </p:sp>
      </p:grpSp>
      <p:grpSp>
        <p:nvGrpSpPr>
          <p:cNvPr id="247820" name="Group 12"/>
          <p:cNvGrpSpPr>
            <a:grpSpLocks/>
          </p:cNvGrpSpPr>
          <p:nvPr/>
        </p:nvGrpSpPr>
        <p:grpSpPr bwMode="auto">
          <a:xfrm>
            <a:off x="4826000" y="5230813"/>
            <a:ext cx="1774825" cy="1508125"/>
            <a:chOff x="2428" y="3297"/>
            <a:chExt cx="1118" cy="950"/>
          </a:xfrm>
        </p:grpSpPr>
        <p:sp>
          <p:nvSpPr>
            <p:cNvPr id="28685" name="Freeform 13"/>
            <p:cNvSpPr>
              <a:spLocks/>
            </p:cNvSpPr>
            <p:nvPr/>
          </p:nvSpPr>
          <p:spPr bwMode="auto">
            <a:xfrm>
              <a:off x="2428" y="3297"/>
              <a:ext cx="1118" cy="950"/>
            </a:xfrm>
            <a:custGeom>
              <a:avLst/>
              <a:gdLst>
                <a:gd name="T0" fmla="*/ 352 w 1632"/>
                <a:gd name="T1" fmla="*/ 84 h 1386"/>
                <a:gd name="T2" fmla="*/ 358 w 1632"/>
                <a:gd name="T3" fmla="*/ 80 h 1386"/>
                <a:gd name="T4" fmla="*/ 360 w 1632"/>
                <a:gd name="T5" fmla="*/ 66 h 1386"/>
                <a:gd name="T6" fmla="*/ 352 w 1632"/>
                <a:gd name="T7" fmla="*/ 47 h 1386"/>
                <a:gd name="T8" fmla="*/ 346 w 1632"/>
                <a:gd name="T9" fmla="*/ 38 h 1386"/>
                <a:gd name="T10" fmla="*/ 332 w 1632"/>
                <a:gd name="T11" fmla="*/ 28 h 1386"/>
                <a:gd name="T12" fmla="*/ 325 w 1632"/>
                <a:gd name="T13" fmla="*/ 28 h 1386"/>
                <a:gd name="T14" fmla="*/ 318 w 1632"/>
                <a:gd name="T15" fmla="*/ 32 h 1386"/>
                <a:gd name="T16" fmla="*/ 316 w 1632"/>
                <a:gd name="T17" fmla="*/ 43 h 1386"/>
                <a:gd name="T18" fmla="*/ 313 w 1632"/>
                <a:gd name="T19" fmla="*/ 53 h 1386"/>
                <a:gd name="T20" fmla="*/ 308 w 1632"/>
                <a:gd name="T21" fmla="*/ 58 h 1386"/>
                <a:gd name="T22" fmla="*/ 303 w 1632"/>
                <a:gd name="T23" fmla="*/ 57 h 1386"/>
                <a:gd name="T24" fmla="*/ 264 w 1632"/>
                <a:gd name="T25" fmla="*/ 0 h 1386"/>
                <a:gd name="T26" fmla="*/ 196 w 1632"/>
                <a:gd name="T27" fmla="*/ 3 h 1386"/>
                <a:gd name="T28" fmla="*/ 190 w 1632"/>
                <a:gd name="T29" fmla="*/ 11 h 1386"/>
                <a:gd name="T30" fmla="*/ 192 w 1632"/>
                <a:gd name="T31" fmla="*/ 17 h 1386"/>
                <a:gd name="T32" fmla="*/ 202 w 1632"/>
                <a:gd name="T33" fmla="*/ 25 h 1386"/>
                <a:gd name="T34" fmla="*/ 208 w 1632"/>
                <a:gd name="T35" fmla="*/ 32 h 1386"/>
                <a:gd name="T36" fmla="*/ 207 w 1632"/>
                <a:gd name="T37" fmla="*/ 40 h 1386"/>
                <a:gd name="T38" fmla="*/ 201 w 1632"/>
                <a:gd name="T39" fmla="*/ 47 h 1386"/>
                <a:gd name="T40" fmla="*/ 181 w 1632"/>
                <a:gd name="T41" fmla="*/ 53 h 1386"/>
                <a:gd name="T42" fmla="*/ 167 w 1632"/>
                <a:gd name="T43" fmla="*/ 53 h 1386"/>
                <a:gd name="T44" fmla="*/ 150 w 1632"/>
                <a:gd name="T45" fmla="*/ 45 h 1386"/>
                <a:gd name="T46" fmla="*/ 145 w 1632"/>
                <a:gd name="T47" fmla="*/ 38 h 1386"/>
                <a:gd name="T48" fmla="*/ 145 w 1632"/>
                <a:gd name="T49" fmla="*/ 31 h 1386"/>
                <a:gd name="T50" fmla="*/ 153 w 1632"/>
                <a:gd name="T51" fmla="*/ 23 h 1386"/>
                <a:gd name="T52" fmla="*/ 161 w 1632"/>
                <a:gd name="T53" fmla="*/ 16 h 1386"/>
                <a:gd name="T54" fmla="*/ 162 w 1632"/>
                <a:gd name="T55" fmla="*/ 9 h 1386"/>
                <a:gd name="T56" fmla="*/ 151 w 1632"/>
                <a:gd name="T57" fmla="*/ 1 h 1386"/>
                <a:gd name="T58" fmla="*/ 54 w 1632"/>
                <a:gd name="T59" fmla="*/ 59 h 1386"/>
                <a:gd name="T60" fmla="*/ 53 w 1632"/>
                <a:gd name="T61" fmla="*/ 74 h 1386"/>
                <a:gd name="T62" fmla="*/ 58 w 1632"/>
                <a:gd name="T63" fmla="*/ 78 h 1386"/>
                <a:gd name="T64" fmla="*/ 68 w 1632"/>
                <a:gd name="T65" fmla="*/ 77 h 1386"/>
                <a:gd name="T66" fmla="*/ 79 w 1632"/>
                <a:gd name="T67" fmla="*/ 73 h 1386"/>
                <a:gd name="T68" fmla="*/ 86 w 1632"/>
                <a:gd name="T69" fmla="*/ 74 h 1386"/>
                <a:gd name="T70" fmla="*/ 92 w 1632"/>
                <a:gd name="T71" fmla="*/ 82 h 1386"/>
                <a:gd name="T72" fmla="*/ 92 w 1632"/>
                <a:gd name="T73" fmla="*/ 97 h 1386"/>
                <a:gd name="T74" fmla="*/ 86 w 1632"/>
                <a:gd name="T75" fmla="*/ 111 h 1386"/>
                <a:gd name="T76" fmla="*/ 73 w 1632"/>
                <a:gd name="T77" fmla="*/ 126 h 1386"/>
                <a:gd name="T78" fmla="*/ 60 w 1632"/>
                <a:gd name="T79" fmla="*/ 131 h 1386"/>
                <a:gd name="T80" fmla="*/ 54 w 1632"/>
                <a:gd name="T81" fmla="*/ 130 h 1386"/>
                <a:gd name="T82" fmla="*/ 49 w 1632"/>
                <a:gd name="T83" fmla="*/ 123 h 1386"/>
                <a:gd name="T84" fmla="*/ 47 w 1632"/>
                <a:gd name="T85" fmla="*/ 108 h 1386"/>
                <a:gd name="T86" fmla="*/ 42 w 1632"/>
                <a:gd name="T87" fmla="*/ 101 h 1386"/>
                <a:gd name="T88" fmla="*/ 36 w 1632"/>
                <a:gd name="T89" fmla="*/ 102 h 1386"/>
                <a:gd name="T90" fmla="*/ 1 w 1632"/>
                <a:gd name="T91" fmla="*/ 152 h 1386"/>
                <a:gd name="T92" fmla="*/ 264 w 1632"/>
                <a:gd name="T93" fmla="*/ 306 h 1386"/>
                <a:gd name="T94" fmla="*/ 321 w 1632"/>
                <a:gd name="T95" fmla="*/ 99 h 1386"/>
                <a:gd name="T96" fmla="*/ 321 w 1632"/>
                <a:gd name="T97" fmla="*/ 84 h 1386"/>
                <a:gd name="T98" fmla="*/ 326 w 1632"/>
                <a:gd name="T99" fmla="*/ 80 h 1386"/>
                <a:gd name="T100" fmla="*/ 334 w 1632"/>
                <a:gd name="T101" fmla="*/ 80 h 1386"/>
                <a:gd name="T102" fmla="*/ 347 w 1632"/>
                <a:gd name="T103" fmla="*/ 86 h 138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1632" h="1386">
                  <a:moveTo>
                    <a:pt x="1576" y="390"/>
                  </a:moveTo>
                  <a:lnTo>
                    <a:pt x="1576" y="390"/>
                  </a:lnTo>
                  <a:lnTo>
                    <a:pt x="1588" y="388"/>
                  </a:lnTo>
                  <a:lnTo>
                    <a:pt x="1602" y="382"/>
                  </a:lnTo>
                  <a:lnTo>
                    <a:pt x="1610" y="376"/>
                  </a:lnTo>
                  <a:lnTo>
                    <a:pt x="1618" y="368"/>
                  </a:lnTo>
                  <a:lnTo>
                    <a:pt x="1624" y="360"/>
                  </a:lnTo>
                  <a:lnTo>
                    <a:pt x="1628" y="350"/>
                  </a:lnTo>
                  <a:lnTo>
                    <a:pt x="1630" y="338"/>
                  </a:lnTo>
                  <a:lnTo>
                    <a:pt x="1632" y="328"/>
                  </a:lnTo>
                  <a:lnTo>
                    <a:pt x="1632" y="302"/>
                  </a:lnTo>
                  <a:lnTo>
                    <a:pt x="1626" y="278"/>
                  </a:lnTo>
                  <a:lnTo>
                    <a:pt x="1620" y="254"/>
                  </a:lnTo>
                  <a:lnTo>
                    <a:pt x="1612" y="234"/>
                  </a:lnTo>
                  <a:lnTo>
                    <a:pt x="1602" y="216"/>
                  </a:lnTo>
                  <a:lnTo>
                    <a:pt x="1594" y="202"/>
                  </a:lnTo>
                  <a:lnTo>
                    <a:pt x="1584" y="188"/>
                  </a:lnTo>
                  <a:lnTo>
                    <a:pt x="1570" y="172"/>
                  </a:lnTo>
                  <a:lnTo>
                    <a:pt x="1556" y="158"/>
                  </a:lnTo>
                  <a:lnTo>
                    <a:pt x="1540" y="146"/>
                  </a:lnTo>
                  <a:lnTo>
                    <a:pt x="1522" y="136"/>
                  </a:lnTo>
                  <a:lnTo>
                    <a:pt x="1504" y="128"/>
                  </a:lnTo>
                  <a:lnTo>
                    <a:pt x="1496" y="126"/>
                  </a:lnTo>
                  <a:lnTo>
                    <a:pt x="1486" y="126"/>
                  </a:lnTo>
                  <a:lnTo>
                    <a:pt x="1474" y="128"/>
                  </a:lnTo>
                  <a:lnTo>
                    <a:pt x="1460" y="134"/>
                  </a:lnTo>
                  <a:lnTo>
                    <a:pt x="1452" y="140"/>
                  </a:lnTo>
                  <a:lnTo>
                    <a:pt x="1444" y="148"/>
                  </a:lnTo>
                  <a:lnTo>
                    <a:pt x="1440" y="154"/>
                  </a:lnTo>
                  <a:lnTo>
                    <a:pt x="1436" y="162"/>
                  </a:lnTo>
                  <a:lnTo>
                    <a:pt x="1434" y="178"/>
                  </a:lnTo>
                  <a:lnTo>
                    <a:pt x="1434" y="196"/>
                  </a:lnTo>
                  <a:lnTo>
                    <a:pt x="1434" y="212"/>
                  </a:lnTo>
                  <a:lnTo>
                    <a:pt x="1432" y="228"/>
                  </a:lnTo>
                  <a:lnTo>
                    <a:pt x="1428" y="236"/>
                  </a:lnTo>
                  <a:lnTo>
                    <a:pt x="1422" y="244"/>
                  </a:lnTo>
                  <a:lnTo>
                    <a:pt x="1416" y="250"/>
                  </a:lnTo>
                  <a:lnTo>
                    <a:pt x="1406" y="258"/>
                  </a:lnTo>
                  <a:lnTo>
                    <a:pt x="1400" y="260"/>
                  </a:lnTo>
                  <a:lnTo>
                    <a:pt x="1392" y="260"/>
                  </a:lnTo>
                  <a:lnTo>
                    <a:pt x="1384" y="260"/>
                  </a:lnTo>
                  <a:lnTo>
                    <a:pt x="1376" y="258"/>
                  </a:lnTo>
                  <a:lnTo>
                    <a:pt x="1360" y="248"/>
                  </a:lnTo>
                  <a:lnTo>
                    <a:pt x="1344" y="236"/>
                  </a:lnTo>
                  <a:lnTo>
                    <a:pt x="1330" y="224"/>
                  </a:lnTo>
                  <a:lnTo>
                    <a:pt x="1200" y="0"/>
                  </a:lnTo>
                  <a:lnTo>
                    <a:pt x="936" y="0"/>
                  </a:lnTo>
                  <a:lnTo>
                    <a:pt x="914" y="8"/>
                  </a:lnTo>
                  <a:lnTo>
                    <a:pt x="890" y="18"/>
                  </a:lnTo>
                  <a:lnTo>
                    <a:pt x="880" y="24"/>
                  </a:lnTo>
                  <a:lnTo>
                    <a:pt x="872" y="32"/>
                  </a:lnTo>
                  <a:lnTo>
                    <a:pt x="866" y="40"/>
                  </a:lnTo>
                  <a:lnTo>
                    <a:pt x="864" y="48"/>
                  </a:lnTo>
                  <a:lnTo>
                    <a:pt x="866" y="60"/>
                  </a:lnTo>
                  <a:lnTo>
                    <a:pt x="868" y="70"/>
                  </a:lnTo>
                  <a:lnTo>
                    <a:pt x="872" y="78"/>
                  </a:lnTo>
                  <a:lnTo>
                    <a:pt x="876" y="84"/>
                  </a:lnTo>
                  <a:lnTo>
                    <a:pt x="890" y="96"/>
                  </a:lnTo>
                  <a:lnTo>
                    <a:pt x="904" y="104"/>
                  </a:lnTo>
                  <a:lnTo>
                    <a:pt x="918" y="112"/>
                  </a:lnTo>
                  <a:lnTo>
                    <a:pt x="932" y="122"/>
                  </a:lnTo>
                  <a:lnTo>
                    <a:pt x="936" y="130"/>
                  </a:lnTo>
                  <a:lnTo>
                    <a:pt x="940" y="138"/>
                  </a:lnTo>
                  <a:lnTo>
                    <a:pt x="944" y="146"/>
                  </a:lnTo>
                  <a:lnTo>
                    <a:pt x="944" y="158"/>
                  </a:lnTo>
                  <a:lnTo>
                    <a:pt x="944" y="170"/>
                  </a:lnTo>
                  <a:lnTo>
                    <a:pt x="940" y="180"/>
                  </a:lnTo>
                  <a:lnTo>
                    <a:pt x="936" y="190"/>
                  </a:lnTo>
                  <a:lnTo>
                    <a:pt x="928" y="198"/>
                  </a:lnTo>
                  <a:lnTo>
                    <a:pt x="920" y="206"/>
                  </a:lnTo>
                  <a:lnTo>
                    <a:pt x="912" y="212"/>
                  </a:lnTo>
                  <a:lnTo>
                    <a:pt x="890" y="224"/>
                  </a:lnTo>
                  <a:lnTo>
                    <a:pt x="866" y="232"/>
                  </a:lnTo>
                  <a:lnTo>
                    <a:pt x="842" y="238"/>
                  </a:lnTo>
                  <a:lnTo>
                    <a:pt x="820" y="242"/>
                  </a:lnTo>
                  <a:lnTo>
                    <a:pt x="800" y="242"/>
                  </a:lnTo>
                  <a:lnTo>
                    <a:pt x="782" y="242"/>
                  </a:lnTo>
                  <a:lnTo>
                    <a:pt x="758" y="238"/>
                  </a:lnTo>
                  <a:lnTo>
                    <a:pt x="734" y="232"/>
                  </a:lnTo>
                  <a:lnTo>
                    <a:pt x="710" y="224"/>
                  </a:lnTo>
                  <a:lnTo>
                    <a:pt x="690" y="212"/>
                  </a:lnTo>
                  <a:lnTo>
                    <a:pt x="680" y="206"/>
                  </a:lnTo>
                  <a:lnTo>
                    <a:pt x="672" y="198"/>
                  </a:lnTo>
                  <a:lnTo>
                    <a:pt x="666" y="190"/>
                  </a:lnTo>
                  <a:lnTo>
                    <a:pt x="660" y="180"/>
                  </a:lnTo>
                  <a:lnTo>
                    <a:pt x="658" y="170"/>
                  </a:lnTo>
                  <a:lnTo>
                    <a:pt x="656" y="158"/>
                  </a:lnTo>
                  <a:lnTo>
                    <a:pt x="658" y="146"/>
                  </a:lnTo>
                  <a:lnTo>
                    <a:pt x="660" y="138"/>
                  </a:lnTo>
                  <a:lnTo>
                    <a:pt x="664" y="130"/>
                  </a:lnTo>
                  <a:lnTo>
                    <a:pt x="670" y="122"/>
                  </a:lnTo>
                  <a:lnTo>
                    <a:pt x="682" y="112"/>
                  </a:lnTo>
                  <a:lnTo>
                    <a:pt x="696" y="104"/>
                  </a:lnTo>
                  <a:lnTo>
                    <a:pt x="712" y="96"/>
                  </a:lnTo>
                  <a:lnTo>
                    <a:pt x="724" y="84"/>
                  </a:lnTo>
                  <a:lnTo>
                    <a:pt x="730" y="78"/>
                  </a:lnTo>
                  <a:lnTo>
                    <a:pt x="732" y="70"/>
                  </a:lnTo>
                  <a:lnTo>
                    <a:pt x="736" y="60"/>
                  </a:lnTo>
                  <a:lnTo>
                    <a:pt x="736" y="48"/>
                  </a:lnTo>
                  <a:lnTo>
                    <a:pt x="734" y="40"/>
                  </a:lnTo>
                  <a:lnTo>
                    <a:pt x="728" y="32"/>
                  </a:lnTo>
                  <a:lnTo>
                    <a:pt x="720" y="24"/>
                  </a:lnTo>
                  <a:lnTo>
                    <a:pt x="710" y="18"/>
                  </a:lnTo>
                  <a:lnTo>
                    <a:pt x="688" y="8"/>
                  </a:lnTo>
                  <a:lnTo>
                    <a:pt x="666" y="0"/>
                  </a:lnTo>
                  <a:lnTo>
                    <a:pt x="402" y="0"/>
                  </a:lnTo>
                  <a:lnTo>
                    <a:pt x="248" y="268"/>
                  </a:lnTo>
                  <a:lnTo>
                    <a:pt x="242" y="290"/>
                  </a:lnTo>
                  <a:lnTo>
                    <a:pt x="240" y="314"/>
                  </a:lnTo>
                  <a:lnTo>
                    <a:pt x="240" y="326"/>
                  </a:lnTo>
                  <a:lnTo>
                    <a:pt x="242" y="336"/>
                  </a:lnTo>
                  <a:lnTo>
                    <a:pt x="248" y="344"/>
                  </a:lnTo>
                  <a:lnTo>
                    <a:pt x="254" y="350"/>
                  </a:lnTo>
                  <a:lnTo>
                    <a:pt x="264" y="356"/>
                  </a:lnTo>
                  <a:lnTo>
                    <a:pt x="274" y="358"/>
                  </a:lnTo>
                  <a:lnTo>
                    <a:pt x="284" y="358"/>
                  </a:lnTo>
                  <a:lnTo>
                    <a:pt x="292" y="358"/>
                  </a:lnTo>
                  <a:lnTo>
                    <a:pt x="308" y="352"/>
                  </a:lnTo>
                  <a:lnTo>
                    <a:pt x="322" y="344"/>
                  </a:lnTo>
                  <a:lnTo>
                    <a:pt x="336" y="336"/>
                  </a:lnTo>
                  <a:lnTo>
                    <a:pt x="352" y="330"/>
                  </a:lnTo>
                  <a:lnTo>
                    <a:pt x="360" y="328"/>
                  </a:lnTo>
                  <a:lnTo>
                    <a:pt x="370" y="328"/>
                  </a:lnTo>
                  <a:lnTo>
                    <a:pt x="378" y="332"/>
                  </a:lnTo>
                  <a:lnTo>
                    <a:pt x="390" y="336"/>
                  </a:lnTo>
                  <a:lnTo>
                    <a:pt x="398" y="342"/>
                  </a:lnTo>
                  <a:lnTo>
                    <a:pt x="406" y="350"/>
                  </a:lnTo>
                  <a:lnTo>
                    <a:pt x="412" y="358"/>
                  </a:lnTo>
                  <a:lnTo>
                    <a:pt x="416" y="368"/>
                  </a:lnTo>
                  <a:lnTo>
                    <a:pt x="418" y="380"/>
                  </a:lnTo>
                  <a:lnTo>
                    <a:pt x="420" y="392"/>
                  </a:lnTo>
                  <a:lnTo>
                    <a:pt x="418" y="416"/>
                  </a:lnTo>
                  <a:lnTo>
                    <a:pt x="414" y="440"/>
                  </a:lnTo>
                  <a:lnTo>
                    <a:pt x="408" y="464"/>
                  </a:lnTo>
                  <a:lnTo>
                    <a:pt x="400" y="486"/>
                  </a:lnTo>
                  <a:lnTo>
                    <a:pt x="390" y="502"/>
                  </a:lnTo>
                  <a:lnTo>
                    <a:pt x="380" y="518"/>
                  </a:lnTo>
                  <a:lnTo>
                    <a:pt x="366" y="536"/>
                  </a:lnTo>
                  <a:lnTo>
                    <a:pt x="348" y="554"/>
                  </a:lnTo>
                  <a:lnTo>
                    <a:pt x="330" y="570"/>
                  </a:lnTo>
                  <a:lnTo>
                    <a:pt x="308" y="584"/>
                  </a:lnTo>
                  <a:lnTo>
                    <a:pt x="298" y="588"/>
                  </a:lnTo>
                  <a:lnTo>
                    <a:pt x="288" y="592"/>
                  </a:lnTo>
                  <a:lnTo>
                    <a:pt x="276" y="592"/>
                  </a:lnTo>
                  <a:lnTo>
                    <a:pt x="266" y="592"/>
                  </a:lnTo>
                  <a:lnTo>
                    <a:pt x="256" y="590"/>
                  </a:lnTo>
                  <a:lnTo>
                    <a:pt x="246" y="586"/>
                  </a:lnTo>
                  <a:lnTo>
                    <a:pt x="236" y="578"/>
                  </a:lnTo>
                  <a:lnTo>
                    <a:pt x="230" y="572"/>
                  </a:lnTo>
                  <a:lnTo>
                    <a:pt x="224" y="564"/>
                  </a:lnTo>
                  <a:lnTo>
                    <a:pt x="222" y="556"/>
                  </a:lnTo>
                  <a:lnTo>
                    <a:pt x="218" y="540"/>
                  </a:lnTo>
                  <a:lnTo>
                    <a:pt x="218" y="522"/>
                  </a:lnTo>
                  <a:lnTo>
                    <a:pt x="218" y="506"/>
                  </a:lnTo>
                  <a:lnTo>
                    <a:pt x="216" y="490"/>
                  </a:lnTo>
                  <a:lnTo>
                    <a:pt x="212" y="482"/>
                  </a:lnTo>
                  <a:lnTo>
                    <a:pt x="206" y="474"/>
                  </a:lnTo>
                  <a:lnTo>
                    <a:pt x="200" y="468"/>
                  </a:lnTo>
                  <a:lnTo>
                    <a:pt x="190" y="460"/>
                  </a:lnTo>
                  <a:lnTo>
                    <a:pt x="182" y="458"/>
                  </a:lnTo>
                  <a:lnTo>
                    <a:pt x="172" y="458"/>
                  </a:lnTo>
                  <a:lnTo>
                    <a:pt x="162" y="462"/>
                  </a:lnTo>
                  <a:lnTo>
                    <a:pt x="152" y="466"/>
                  </a:lnTo>
                  <a:lnTo>
                    <a:pt x="132" y="480"/>
                  </a:lnTo>
                  <a:lnTo>
                    <a:pt x="116" y="496"/>
                  </a:lnTo>
                  <a:lnTo>
                    <a:pt x="4" y="688"/>
                  </a:lnTo>
                  <a:lnTo>
                    <a:pt x="2" y="688"/>
                  </a:lnTo>
                  <a:lnTo>
                    <a:pt x="0" y="694"/>
                  </a:lnTo>
                  <a:lnTo>
                    <a:pt x="400" y="1386"/>
                  </a:lnTo>
                  <a:lnTo>
                    <a:pt x="1200" y="1386"/>
                  </a:lnTo>
                  <a:lnTo>
                    <a:pt x="1600" y="694"/>
                  </a:lnTo>
                  <a:lnTo>
                    <a:pt x="1598" y="688"/>
                  </a:lnTo>
                  <a:lnTo>
                    <a:pt x="1458" y="448"/>
                  </a:lnTo>
                  <a:lnTo>
                    <a:pt x="1454" y="426"/>
                  </a:lnTo>
                  <a:lnTo>
                    <a:pt x="1452" y="402"/>
                  </a:lnTo>
                  <a:lnTo>
                    <a:pt x="1454" y="392"/>
                  </a:lnTo>
                  <a:lnTo>
                    <a:pt x="1456" y="382"/>
                  </a:lnTo>
                  <a:lnTo>
                    <a:pt x="1460" y="374"/>
                  </a:lnTo>
                  <a:lnTo>
                    <a:pt x="1466" y="368"/>
                  </a:lnTo>
                  <a:lnTo>
                    <a:pt x="1482" y="362"/>
                  </a:lnTo>
                  <a:lnTo>
                    <a:pt x="1496" y="360"/>
                  </a:lnTo>
                  <a:lnTo>
                    <a:pt x="1508" y="360"/>
                  </a:lnTo>
                  <a:lnTo>
                    <a:pt x="1518" y="364"/>
                  </a:lnTo>
                  <a:lnTo>
                    <a:pt x="1536" y="374"/>
                  </a:lnTo>
                  <a:lnTo>
                    <a:pt x="1556" y="384"/>
                  </a:lnTo>
                  <a:lnTo>
                    <a:pt x="1566" y="388"/>
                  </a:lnTo>
                  <a:lnTo>
                    <a:pt x="1576" y="390"/>
                  </a:lnTo>
                  <a:close/>
                </a:path>
              </a:pathLst>
            </a:custGeom>
            <a:solidFill>
              <a:srgbClr val="EF43AF"/>
            </a:solidFill>
            <a:ln w="38100" cap="flat" cmpd="sng">
              <a:solidFill>
                <a:srgbClr val="5F5F5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E"/>
            </a:p>
          </p:txBody>
        </p:sp>
        <p:sp>
          <p:nvSpPr>
            <p:cNvPr id="28686" name="Text Box 14"/>
            <p:cNvSpPr txBox="1">
              <a:spLocks noChangeArrowheads="1"/>
            </p:cNvSpPr>
            <p:nvPr/>
          </p:nvSpPr>
          <p:spPr bwMode="auto">
            <a:xfrm>
              <a:off x="2617" y="3585"/>
              <a:ext cx="785" cy="4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5F5F5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GB" b="1">
                  <a:solidFill>
                    <a:srgbClr val="000000"/>
                  </a:solidFill>
                  <a:cs typeface="Arial" charset="0"/>
                </a:rPr>
                <a:t>Patient Home</a:t>
              </a:r>
            </a:p>
          </p:txBody>
        </p:sp>
      </p:grpSp>
      <p:grpSp>
        <p:nvGrpSpPr>
          <p:cNvPr id="247823" name="Group 15"/>
          <p:cNvGrpSpPr>
            <a:grpSpLocks/>
          </p:cNvGrpSpPr>
          <p:nvPr/>
        </p:nvGrpSpPr>
        <p:grpSpPr bwMode="auto">
          <a:xfrm>
            <a:off x="457200" y="4476750"/>
            <a:ext cx="1757363" cy="1760538"/>
            <a:chOff x="1303" y="2591"/>
            <a:chExt cx="1107" cy="1109"/>
          </a:xfrm>
        </p:grpSpPr>
        <p:sp>
          <p:nvSpPr>
            <p:cNvPr id="28683" name="Freeform 16"/>
            <p:cNvSpPr>
              <a:spLocks/>
            </p:cNvSpPr>
            <p:nvPr/>
          </p:nvSpPr>
          <p:spPr bwMode="auto">
            <a:xfrm>
              <a:off x="1303" y="2591"/>
              <a:ext cx="1107" cy="1109"/>
            </a:xfrm>
            <a:custGeom>
              <a:avLst/>
              <a:gdLst>
                <a:gd name="T0" fmla="*/ 299 w 1616"/>
                <a:gd name="T1" fmla="*/ 307 h 1618"/>
                <a:gd name="T2" fmla="*/ 308 w 1616"/>
                <a:gd name="T3" fmla="*/ 308 h 1618"/>
                <a:gd name="T4" fmla="*/ 312 w 1616"/>
                <a:gd name="T5" fmla="*/ 320 h 1618"/>
                <a:gd name="T6" fmla="*/ 315 w 1616"/>
                <a:gd name="T7" fmla="*/ 333 h 1618"/>
                <a:gd name="T8" fmla="*/ 324 w 1616"/>
                <a:gd name="T9" fmla="*/ 336 h 1618"/>
                <a:gd name="T10" fmla="*/ 340 w 1616"/>
                <a:gd name="T11" fmla="*/ 328 h 1618"/>
                <a:gd name="T12" fmla="*/ 351 w 1616"/>
                <a:gd name="T13" fmla="*/ 313 h 1618"/>
                <a:gd name="T14" fmla="*/ 356 w 1616"/>
                <a:gd name="T15" fmla="*/ 289 h 1618"/>
                <a:gd name="T16" fmla="*/ 349 w 1616"/>
                <a:gd name="T17" fmla="*/ 280 h 1618"/>
                <a:gd name="T18" fmla="*/ 340 w 1616"/>
                <a:gd name="T19" fmla="*/ 278 h 1618"/>
                <a:gd name="T20" fmla="*/ 326 w 1616"/>
                <a:gd name="T21" fmla="*/ 284 h 1618"/>
                <a:gd name="T22" fmla="*/ 318 w 1616"/>
                <a:gd name="T23" fmla="*/ 281 h 1618"/>
                <a:gd name="T24" fmla="*/ 318 w 1616"/>
                <a:gd name="T25" fmla="*/ 265 h 1618"/>
                <a:gd name="T26" fmla="*/ 322 w 1616"/>
                <a:gd name="T27" fmla="*/ 153 h 1618"/>
                <a:gd name="T28" fmla="*/ 307 w 1616"/>
                <a:gd name="T29" fmla="*/ 144 h 1618"/>
                <a:gd name="T30" fmla="*/ 300 w 1616"/>
                <a:gd name="T31" fmla="*/ 150 h 1618"/>
                <a:gd name="T32" fmla="*/ 299 w 1616"/>
                <a:gd name="T33" fmla="*/ 166 h 1618"/>
                <a:gd name="T34" fmla="*/ 293 w 1616"/>
                <a:gd name="T35" fmla="*/ 173 h 1618"/>
                <a:gd name="T36" fmla="*/ 281 w 1616"/>
                <a:gd name="T37" fmla="*/ 173 h 1618"/>
                <a:gd name="T38" fmla="*/ 263 w 1616"/>
                <a:gd name="T39" fmla="*/ 158 h 1618"/>
                <a:gd name="T40" fmla="*/ 256 w 1616"/>
                <a:gd name="T41" fmla="*/ 141 h 1618"/>
                <a:gd name="T42" fmla="*/ 256 w 1616"/>
                <a:gd name="T43" fmla="*/ 123 h 1618"/>
                <a:gd name="T44" fmla="*/ 264 w 1616"/>
                <a:gd name="T45" fmla="*/ 117 h 1618"/>
                <a:gd name="T46" fmla="*/ 276 w 1616"/>
                <a:gd name="T47" fmla="*/ 119 h 1618"/>
                <a:gd name="T48" fmla="*/ 289 w 1616"/>
                <a:gd name="T49" fmla="*/ 122 h 1618"/>
                <a:gd name="T50" fmla="*/ 295 w 1616"/>
                <a:gd name="T51" fmla="*/ 115 h 1618"/>
                <a:gd name="T52" fmla="*/ 264 w 1616"/>
                <a:gd name="T53" fmla="*/ 53 h 1618"/>
                <a:gd name="T54" fmla="*/ 199 w 1616"/>
                <a:gd name="T55" fmla="*/ 51 h 1618"/>
                <a:gd name="T56" fmla="*/ 197 w 1616"/>
                <a:gd name="T57" fmla="*/ 50 h 1618"/>
                <a:gd name="T58" fmla="*/ 196 w 1616"/>
                <a:gd name="T59" fmla="*/ 50 h 1618"/>
                <a:gd name="T60" fmla="*/ 195 w 1616"/>
                <a:gd name="T61" fmla="*/ 49 h 1618"/>
                <a:gd name="T62" fmla="*/ 194 w 1616"/>
                <a:gd name="T63" fmla="*/ 47 h 1618"/>
                <a:gd name="T64" fmla="*/ 193 w 1616"/>
                <a:gd name="T65" fmla="*/ 47 h 1618"/>
                <a:gd name="T66" fmla="*/ 192 w 1616"/>
                <a:gd name="T67" fmla="*/ 46 h 1618"/>
                <a:gd name="T68" fmla="*/ 192 w 1616"/>
                <a:gd name="T69" fmla="*/ 45 h 1618"/>
                <a:gd name="T70" fmla="*/ 191 w 1616"/>
                <a:gd name="T71" fmla="*/ 44 h 1618"/>
                <a:gd name="T72" fmla="*/ 191 w 1616"/>
                <a:gd name="T73" fmla="*/ 42 h 1618"/>
                <a:gd name="T74" fmla="*/ 191 w 1616"/>
                <a:gd name="T75" fmla="*/ 42 h 1618"/>
                <a:gd name="T76" fmla="*/ 197 w 1616"/>
                <a:gd name="T77" fmla="*/ 32 h 1618"/>
                <a:gd name="T78" fmla="*/ 208 w 1616"/>
                <a:gd name="T79" fmla="*/ 23 h 1618"/>
                <a:gd name="T80" fmla="*/ 208 w 1616"/>
                <a:gd name="T81" fmla="*/ 14 h 1618"/>
                <a:gd name="T82" fmla="*/ 197 w 1616"/>
                <a:gd name="T83" fmla="*/ 3 h 1618"/>
                <a:gd name="T84" fmla="*/ 177 w 1616"/>
                <a:gd name="T85" fmla="*/ 0 h 1618"/>
                <a:gd name="T86" fmla="*/ 153 w 1616"/>
                <a:gd name="T87" fmla="*/ 7 h 1618"/>
                <a:gd name="T88" fmla="*/ 145 w 1616"/>
                <a:gd name="T89" fmla="*/ 16 h 1618"/>
                <a:gd name="T90" fmla="*/ 147 w 1616"/>
                <a:gd name="T91" fmla="*/ 25 h 1618"/>
                <a:gd name="T92" fmla="*/ 160 w 1616"/>
                <a:gd name="T93" fmla="*/ 35 h 1618"/>
                <a:gd name="T94" fmla="*/ 163 w 1616"/>
                <a:gd name="T95" fmla="*/ 42 h 1618"/>
                <a:gd name="T96" fmla="*/ 163 w 1616"/>
                <a:gd name="T97" fmla="*/ 42 h 1618"/>
                <a:gd name="T98" fmla="*/ 163 w 1616"/>
                <a:gd name="T99" fmla="*/ 45 h 1618"/>
                <a:gd name="T100" fmla="*/ 163 w 1616"/>
                <a:gd name="T101" fmla="*/ 45 h 1618"/>
                <a:gd name="T102" fmla="*/ 162 w 1616"/>
                <a:gd name="T103" fmla="*/ 47 h 1618"/>
                <a:gd name="T104" fmla="*/ 161 w 1616"/>
                <a:gd name="T105" fmla="*/ 47 h 1618"/>
                <a:gd name="T106" fmla="*/ 160 w 1616"/>
                <a:gd name="T107" fmla="*/ 48 h 1618"/>
                <a:gd name="T108" fmla="*/ 159 w 1616"/>
                <a:gd name="T109" fmla="*/ 49 h 1618"/>
                <a:gd name="T110" fmla="*/ 158 w 1616"/>
                <a:gd name="T111" fmla="*/ 50 h 1618"/>
                <a:gd name="T112" fmla="*/ 157 w 1616"/>
                <a:gd name="T113" fmla="*/ 50 h 1618"/>
                <a:gd name="T114" fmla="*/ 156 w 1616"/>
                <a:gd name="T115" fmla="*/ 51 h 1618"/>
                <a:gd name="T116" fmla="*/ 0 w 1616"/>
                <a:gd name="T117" fmla="*/ 204 h 161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16" h="1618">
                  <a:moveTo>
                    <a:pt x="1312" y="1426"/>
                  </a:moveTo>
                  <a:lnTo>
                    <a:pt x="1312" y="1426"/>
                  </a:lnTo>
                  <a:lnTo>
                    <a:pt x="1328" y="1410"/>
                  </a:lnTo>
                  <a:lnTo>
                    <a:pt x="1348" y="1396"/>
                  </a:lnTo>
                  <a:lnTo>
                    <a:pt x="1358" y="1392"/>
                  </a:lnTo>
                  <a:lnTo>
                    <a:pt x="1368" y="1388"/>
                  </a:lnTo>
                  <a:lnTo>
                    <a:pt x="1378" y="1388"/>
                  </a:lnTo>
                  <a:lnTo>
                    <a:pt x="1386" y="1390"/>
                  </a:lnTo>
                  <a:lnTo>
                    <a:pt x="1396" y="1398"/>
                  </a:lnTo>
                  <a:lnTo>
                    <a:pt x="1402" y="1404"/>
                  </a:lnTo>
                  <a:lnTo>
                    <a:pt x="1408" y="1412"/>
                  </a:lnTo>
                  <a:lnTo>
                    <a:pt x="1412" y="1420"/>
                  </a:lnTo>
                  <a:lnTo>
                    <a:pt x="1414" y="1436"/>
                  </a:lnTo>
                  <a:lnTo>
                    <a:pt x="1414" y="1452"/>
                  </a:lnTo>
                  <a:lnTo>
                    <a:pt x="1414" y="1470"/>
                  </a:lnTo>
                  <a:lnTo>
                    <a:pt x="1418" y="1486"/>
                  </a:lnTo>
                  <a:lnTo>
                    <a:pt x="1420" y="1494"/>
                  </a:lnTo>
                  <a:lnTo>
                    <a:pt x="1426" y="1502"/>
                  </a:lnTo>
                  <a:lnTo>
                    <a:pt x="1432" y="1508"/>
                  </a:lnTo>
                  <a:lnTo>
                    <a:pt x="1442" y="1516"/>
                  </a:lnTo>
                  <a:lnTo>
                    <a:pt x="1452" y="1520"/>
                  </a:lnTo>
                  <a:lnTo>
                    <a:pt x="1462" y="1522"/>
                  </a:lnTo>
                  <a:lnTo>
                    <a:pt x="1472" y="1522"/>
                  </a:lnTo>
                  <a:lnTo>
                    <a:pt x="1484" y="1522"/>
                  </a:lnTo>
                  <a:lnTo>
                    <a:pt x="1494" y="1518"/>
                  </a:lnTo>
                  <a:lnTo>
                    <a:pt x="1504" y="1514"/>
                  </a:lnTo>
                  <a:lnTo>
                    <a:pt x="1526" y="1500"/>
                  </a:lnTo>
                  <a:lnTo>
                    <a:pt x="1544" y="1484"/>
                  </a:lnTo>
                  <a:lnTo>
                    <a:pt x="1562" y="1466"/>
                  </a:lnTo>
                  <a:lnTo>
                    <a:pt x="1576" y="1448"/>
                  </a:lnTo>
                  <a:lnTo>
                    <a:pt x="1586" y="1432"/>
                  </a:lnTo>
                  <a:lnTo>
                    <a:pt x="1596" y="1416"/>
                  </a:lnTo>
                  <a:lnTo>
                    <a:pt x="1604" y="1394"/>
                  </a:lnTo>
                  <a:lnTo>
                    <a:pt x="1610" y="1370"/>
                  </a:lnTo>
                  <a:lnTo>
                    <a:pt x="1614" y="1346"/>
                  </a:lnTo>
                  <a:lnTo>
                    <a:pt x="1616" y="1322"/>
                  </a:lnTo>
                  <a:lnTo>
                    <a:pt x="1614" y="1310"/>
                  </a:lnTo>
                  <a:lnTo>
                    <a:pt x="1612" y="1298"/>
                  </a:lnTo>
                  <a:lnTo>
                    <a:pt x="1608" y="1288"/>
                  </a:lnTo>
                  <a:lnTo>
                    <a:pt x="1602" y="1280"/>
                  </a:lnTo>
                  <a:lnTo>
                    <a:pt x="1594" y="1272"/>
                  </a:lnTo>
                  <a:lnTo>
                    <a:pt x="1586" y="1266"/>
                  </a:lnTo>
                  <a:lnTo>
                    <a:pt x="1574" y="1262"/>
                  </a:lnTo>
                  <a:lnTo>
                    <a:pt x="1566" y="1258"/>
                  </a:lnTo>
                  <a:lnTo>
                    <a:pt x="1556" y="1258"/>
                  </a:lnTo>
                  <a:lnTo>
                    <a:pt x="1548" y="1260"/>
                  </a:lnTo>
                  <a:lnTo>
                    <a:pt x="1532" y="1266"/>
                  </a:lnTo>
                  <a:lnTo>
                    <a:pt x="1518" y="1274"/>
                  </a:lnTo>
                  <a:lnTo>
                    <a:pt x="1504" y="1282"/>
                  </a:lnTo>
                  <a:lnTo>
                    <a:pt x="1488" y="1288"/>
                  </a:lnTo>
                  <a:lnTo>
                    <a:pt x="1480" y="1288"/>
                  </a:lnTo>
                  <a:lnTo>
                    <a:pt x="1470" y="1288"/>
                  </a:lnTo>
                  <a:lnTo>
                    <a:pt x="1460" y="1286"/>
                  </a:lnTo>
                  <a:lnTo>
                    <a:pt x="1450" y="1280"/>
                  </a:lnTo>
                  <a:lnTo>
                    <a:pt x="1444" y="1274"/>
                  </a:lnTo>
                  <a:lnTo>
                    <a:pt x="1438" y="1266"/>
                  </a:lnTo>
                  <a:lnTo>
                    <a:pt x="1436" y="1256"/>
                  </a:lnTo>
                  <a:lnTo>
                    <a:pt x="1436" y="1244"/>
                  </a:lnTo>
                  <a:lnTo>
                    <a:pt x="1438" y="1220"/>
                  </a:lnTo>
                  <a:lnTo>
                    <a:pt x="1444" y="1198"/>
                  </a:lnTo>
                  <a:lnTo>
                    <a:pt x="1598" y="930"/>
                  </a:lnTo>
                  <a:lnTo>
                    <a:pt x="1600" y="926"/>
                  </a:lnTo>
                  <a:lnTo>
                    <a:pt x="1596" y="926"/>
                  </a:lnTo>
                  <a:lnTo>
                    <a:pt x="1462" y="694"/>
                  </a:lnTo>
                  <a:lnTo>
                    <a:pt x="1446" y="678"/>
                  </a:lnTo>
                  <a:lnTo>
                    <a:pt x="1426" y="664"/>
                  </a:lnTo>
                  <a:lnTo>
                    <a:pt x="1414" y="658"/>
                  </a:lnTo>
                  <a:lnTo>
                    <a:pt x="1404" y="656"/>
                  </a:lnTo>
                  <a:lnTo>
                    <a:pt x="1394" y="654"/>
                  </a:lnTo>
                  <a:lnTo>
                    <a:pt x="1386" y="658"/>
                  </a:lnTo>
                  <a:lnTo>
                    <a:pt x="1376" y="664"/>
                  </a:lnTo>
                  <a:lnTo>
                    <a:pt x="1368" y="672"/>
                  </a:lnTo>
                  <a:lnTo>
                    <a:pt x="1364" y="678"/>
                  </a:lnTo>
                  <a:lnTo>
                    <a:pt x="1360" y="686"/>
                  </a:lnTo>
                  <a:lnTo>
                    <a:pt x="1358" y="702"/>
                  </a:lnTo>
                  <a:lnTo>
                    <a:pt x="1358" y="720"/>
                  </a:lnTo>
                  <a:lnTo>
                    <a:pt x="1358" y="736"/>
                  </a:lnTo>
                  <a:lnTo>
                    <a:pt x="1354" y="752"/>
                  </a:lnTo>
                  <a:lnTo>
                    <a:pt x="1352" y="760"/>
                  </a:lnTo>
                  <a:lnTo>
                    <a:pt x="1346" y="768"/>
                  </a:lnTo>
                  <a:lnTo>
                    <a:pt x="1340" y="776"/>
                  </a:lnTo>
                  <a:lnTo>
                    <a:pt x="1330" y="782"/>
                  </a:lnTo>
                  <a:lnTo>
                    <a:pt x="1320" y="786"/>
                  </a:lnTo>
                  <a:lnTo>
                    <a:pt x="1310" y="790"/>
                  </a:lnTo>
                  <a:lnTo>
                    <a:pt x="1300" y="790"/>
                  </a:lnTo>
                  <a:lnTo>
                    <a:pt x="1288" y="788"/>
                  </a:lnTo>
                  <a:lnTo>
                    <a:pt x="1278" y="784"/>
                  </a:lnTo>
                  <a:lnTo>
                    <a:pt x="1268" y="780"/>
                  </a:lnTo>
                  <a:lnTo>
                    <a:pt x="1246" y="768"/>
                  </a:lnTo>
                  <a:lnTo>
                    <a:pt x="1228" y="752"/>
                  </a:lnTo>
                  <a:lnTo>
                    <a:pt x="1210" y="734"/>
                  </a:lnTo>
                  <a:lnTo>
                    <a:pt x="1196" y="716"/>
                  </a:lnTo>
                  <a:lnTo>
                    <a:pt x="1186" y="700"/>
                  </a:lnTo>
                  <a:lnTo>
                    <a:pt x="1176" y="682"/>
                  </a:lnTo>
                  <a:lnTo>
                    <a:pt x="1168" y="660"/>
                  </a:lnTo>
                  <a:lnTo>
                    <a:pt x="1162" y="638"/>
                  </a:lnTo>
                  <a:lnTo>
                    <a:pt x="1156" y="612"/>
                  </a:lnTo>
                  <a:lnTo>
                    <a:pt x="1156" y="588"/>
                  </a:lnTo>
                  <a:lnTo>
                    <a:pt x="1158" y="576"/>
                  </a:lnTo>
                  <a:lnTo>
                    <a:pt x="1160" y="566"/>
                  </a:lnTo>
                  <a:lnTo>
                    <a:pt x="1164" y="556"/>
                  </a:lnTo>
                  <a:lnTo>
                    <a:pt x="1170" y="546"/>
                  </a:lnTo>
                  <a:lnTo>
                    <a:pt x="1178" y="538"/>
                  </a:lnTo>
                  <a:lnTo>
                    <a:pt x="1186" y="532"/>
                  </a:lnTo>
                  <a:lnTo>
                    <a:pt x="1198" y="528"/>
                  </a:lnTo>
                  <a:lnTo>
                    <a:pt x="1206" y="526"/>
                  </a:lnTo>
                  <a:lnTo>
                    <a:pt x="1216" y="524"/>
                  </a:lnTo>
                  <a:lnTo>
                    <a:pt x="1224" y="526"/>
                  </a:lnTo>
                  <a:lnTo>
                    <a:pt x="1240" y="532"/>
                  </a:lnTo>
                  <a:lnTo>
                    <a:pt x="1254" y="540"/>
                  </a:lnTo>
                  <a:lnTo>
                    <a:pt x="1268" y="548"/>
                  </a:lnTo>
                  <a:lnTo>
                    <a:pt x="1284" y="554"/>
                  </a:lnTo>
                  <a:lnTo>
                    <a:pt x="1292" y="556"/>
                  </a:lnTo>
                  <a:lnTo>
                    <a:pt x="1302" y="554"/>
                  </a:lnTo>
                  <a:lnTo>
                    <a:pt x="1312" y="552"/>
                  </a:lnTo>
                  <a:lnTo>
                    <a:pt x="1322" y="546"/>
                  </a:lnTo>
                  <a:lnTo>
                    <a:pt x="1328" y="540"/>
                  </a:lnTo>
                  <a:lnTo>
                    <a:pt x="1334" y="532"/>
                  </a:lnTo>
                  <a:lnTo>
                    <a:pt x="1336" y="522"/>
                  </a:lnTo>
                  <a:lnTo>
                    <a:pt x="1336" y="510"/>
                  </a:lnTo>
                  <a:lnTo>
                    <a:pt x="1334" y="484"/>
                  </a:lnTo>
                  <a:lnTo>
                    <a:pt x="1328" y="462"/>
                  </a:lnTo>
                  <a:lnTo>
                    <a:pt x="1198" y="238"/>
                  </a:lnTo>
                  <a:lnTo>
                    <a:pt x="924" y="238"/>
                  </a:lnTo>
                  <a:lnTo>
                    <a:pt x="902" y="230"/>
                  </a:lnTo>
                  <a:lnTo>
                    <a:pt x="898" y="228"/>
                  </a:lnTo>
                  <a:lnTo>
                    <a:pt x="896" y="226"/>
                  </a:lnTo>
                  <a:lnTo>
                    <a:pt x="894" y="226"/>
                  </a:lnTo>
                  <a:lnTo>
                    <a:pt x="892" y="224"/>
                  </a:lnTo>
                  <a:lnTo>
                    <a:pt x="890" y="224"/>
                  </a:lnTo>
                  <a:lnTo>
                    <a:pt x="888" y="222"/>
                  </a:lnTo>
                  <a:lnTo>
                    <a:pt x="886" y="220"/>
                  </a:lnTo>
                  <a:lnTo>
                    <a:pt x="884" y="220"/>
                  </a:lnTo>
                  <a:lnTo>
                    <a:pt x="882" y="218"/>
                  </a:lnTo>
                  <a:lnTo>
                    <a:pt x="880" y="216"/>
                  </a:lnTo>
                  <a:lnTo>
                    <a:pt x="878" y="214"/>
                  </a:lnTo>
                  <a:lnTo>
                    <a:pt x="876" y="212"/>
                  </a:lnTo>
                  <a:lnTo>
                    <a:pt x="874" y="210"/>
                  </a:lnTo>
                  <a:lnTo>
                    <a:pt x="874" y="208"/>
                  </a:lnTo>
                  <a:lnTo>
                    <a:pt x="872" y="206"/>
                  </a:lnTo>
                  <a:lnTo>
                    <a:pt x="870" y="204"/>
                  </a:lnTo>
                  <a:lnTo>
                    <a:pt x="870" y="202"/>
                  </a:lnTo>
                  <a:lnTo>
                    <a:pt x="868" y="200"/>
                  </a:lnTo>
                  <a:lnTo>
                    <a:pt x="868" y="198"/>
                  </a:lnTo>
                  <a:lnTo>
                    <a:pt x="868" y="194"/>
                  </a:lnTo>
                  <a:lnTo>
                    <a:pt x="870" y="182"/>
                  </a:lnTo>
                  <a:lnTo>
                    <a:pt x="872" y="172"/>
                  </a:lnTo>
                  <a:lnTo>
                    <a:pt x="876" y="164"/>
                  </a:lnTo>
                  <a:lnTo>
                    <a:pt x="880" y="158"/>
                  </a:lnTo>
                  <a:lnTo>
                    <a:pt x="894" y="148"/>
                  </a:lnTo>
                  <a:lnTo>
                    <a:pt x="908" y="138"/>
                  </a:lnTo>
                  <a:lnTo>
                    <a:pt x="922" y="130"/>
                  </a:lnTo>
                  <a:lnTo>
                    <a:pt x="936" y="120"/>
                  </a:lnTo>
                  <a:lnTo>
                    <a:pt x="940" y="114"/>
                  </a:lnTo>
                  <a:lnTo>
                    <a:pt x="944" y="106"/>
                  </a:lnTo>
                  <a:lnTo>
                    <a:pt x="948" y="96"/>
                  </a:lnTo>
                  <a:lnTo>
                    <a:pt x="948" y="84"/>
                  </a:lnTo>
                  <a:lnTo>
                    <a:pt x="948" y="74"/>
                  </a:lnTo>
                  <a:lnTo>
                    <a:pt x="944" y="64"/>
                  </a:lnTo>
                  <a:lnTo>
                    <a:pt x="940" y="54"/>
                  </a:lnTo>
                  <a:lnTo>
                    <a:pt x="932" y="46"/>
                  </a:lnTo>
                  <a:lnTo>
                    <a:pt x="924" y="38"/>
                  </a:lnTo>
                  <a:lnTo>
                    <a:pt x="916" y="30"/>
                  </a:lnTo>
                  <a:lnTo>
                    <a:pt x="894" y="18"/>
                  </a:lnTo>
                  <a:lnTo>
                    <a:pt x="870" y="10"/>
                  </a:lnTo>
                  <a:lnTo>
                    <a:pt x="846" y="4"/>
                  </a:lnTo>
                  <a:lnTo>
                    <a:pt x="824" y="2"/>
                  </a:lnTo>
                  <a:lnTo>
                    <a:pt x="804" y="0"/>
                  </a:lnTo>
                  <a:lnTo>
                    <a:pt x="786" y="2"/>
                  </a:lnTo>
                  <a:lnTo>
                    <a:pt x="762" y="4"/>
                  </a:lnTo>
                  <a:lnTo>
                    <a:pt x="738" y="10"/>
                  </a:lnTo>
                  <a:lnTo>
                    <a:pt x="714" y="18"/>
                  </a:lnTo>
                  <a:lnTo>
                    <a:pt x="694" y="30"/>
                  </a:lnTo>
                  <a:lnTo>
                    <a:pt x="684" y="38"/>
                  </a:lnTo>
                  <a:lnTo>
                    <a:pt x="676" y="46"/>
                  </a:lnTo>
                  <a:lnTo>
                    <a:pt x="670" y="54"/>
                  </a:lnTo>
                  <a:lnTo>
                    <a:pt x="664" y="64"/>
                  </a:lnTo>
                  <a:lnTo>
                    <a:pt x="662" y="74"/>
                  </a:lnTo>
                  <a:lnTo>
                    <a:pt x="660" y="84"/>
                  </a:lnTo>
                  <a:lnTo>
                    <a:pt x="662" y="96"/>
                  </a:lnTo>
                  <a:lnTo>
                    <a:pt x="664" y="106"/>
                  </a:lnTo>
                  <a:lnTo>
                    <a:pt x="668" y="114"/>
                  </a:lnTo>
                  <a:lnTo>
                    <a:pt x="674" y="120"/>
                  </a:lnTo>
                  <a:lnTo>
                    <a:pt x="686" y="130"/>
                  </a:lnTo>
                  <a:lnTo>
                    <a:pt x="700" y="138"/>
                  </a:lnTo>
                  <a:lnTo>
                    <a:pt x="716" y="148"/>
                  </a:lnTo>
                  <a:lnTo>
                    <a:pt x="728" y="158"/>
                  </a:lnTo>
                  <a:lnTo>
                    <a:pt x="734" y="164"/>
                  </a:lnTo>
                  <a:lnTo>
                    <a:pt x="736" y="172"/>
                  </a:lnTo>
                  <a:lnTo>
                    <a:pt x="740" y="182"/>
                  </a:lnTo>
                  <a:lnTo>
                    <a:pt x="740" y="194"/>
                  </a:lnTo>
                  <a:lnTo>
                    <a:pt x="740" y="198"/>
                  </a:lnTo>
                  <a:lnTo>
                    <a:pt x="740" y="200"/>
                  </a:lnTo>
                  <a:lnTo>
                    <a:pt x="740" y="202"/>
                  </a:lnTo>
                  <a:lnTo>
                    <a:pt x="738" y="204"/>
                  </a:lnTo>
                  <a:lnTo>
                    <a:pt x="738" y="206"/>
                  </a:lnTo>
                  <a:lnTo>
                    <a:pt x="736" y="206"/>
                  </a:lnTo>
                  <a:lnTo>
                    <a:pt x="736" y="208"/>
                  </a:lnTo>
                  <a:lnTo>
                    <a:pt x="734" y="210"/>
                  </a:lnTo>
                  <a:lnTo>
                    <a:pt x="734" y="212"/>
                  </a:lnTo>
                  <a:lnTo>
                    <a:pt x="732" y="212"/>
                  </a:lnTo>
                  <a:lnTo>
                    <a:pt x="730" y="214"/>
                  </a:lnTo>
                  <a:lnTo>
                    <a:pt x="730" y="216"/>
                  </a:lnTo>
                  <a:lnTo>
                    <a:pt x="726" y="218"/>
                  </a:lnTo>
                  <a:lnTo>
                    <a:pt x="724" y="220"/>
                  </a:lnTo>
                  <a:lnTo>
                    <a:pt x="722" y="220"/>
                  </a:lnTo>
                  <a:lnTo>
                    <a:pt x="720" y="222"/>
                  </a:lnTo>
                  <a:lnTo>
                    <a:pt x="718" y="224"/>
                  </a:lnTo>
                  <a:lnTo>
                    <a:pt x="716" y="224"/>
                  </a:lnTo>
                  <a:lnTo>
                    <a:pt x="714" y="226"/>
                  </a:lnTo>
                  <a:lnTo>
                    <a:pt x="712" y="226"/>
                  </a:lnTo>
                  <a:lnTo>
                    <a:pt x="710" y="228"/>
                  </a:lnTo>
                  <a:lnTo>
                    <a:pt x="708" y="230"/>
                  </a:lnTo>
                  <a:lnTo>
                    <a:pt x="706" y="230"/>
                  </a:lnTo>
                  <a:lnTo>
                    <a:pt x="684" y="238"/>
                  </a:lnTo>
                  <a:lnTo>
                    <a:pt x="400" y="238"/>
                  </a:lnTo>
                  <a:lnTo>
                    <a:pt x="398" y="236"/>
                  </a:lnTo>
                  <a:lnTo>
                    <a:pt x="0" y="926"/>
                  </a:lnTo>
                  <a:lnTo>
                    <a:pt x="400" y="1618"/>
                  </a:lnTo>
                  <a:lnTo>
                    <a:pt x="1198" y="1618"/>
                  </a:lnTo>
                  <a:lnTo>
                    <a:pt x="1200" y="1618"/>
                  </a:lnTo>
                  <a:lnTo>
                    <a:pt x="1312" y="1426"/>
                  </a:lnTo>
                  <a:close/>
                </a:path>
              </a:pathLst>
            </a:custGeom>
            <a:solidFill>
              <a:srgbClr val="50EC20"/>
            </a:solidFill>
            <a:ln w="38100" cap="flat" cmpd="sng">
              <a:solidFill>
                <a:srgbClr val="5F5F5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E"/>
            </a:p>
          </p:txBody>
        </p:sp>
        <p:sp>
          <p:nvSpPr>
            <p:cNvPr id="28684" name="Text Box 17"/>
            <p:cNvSpPr txBox="1">
              <a:spLocks noChangeArrowheads="1"/>
            </p:cNvSpPr>
            <p:nvPr/>
          </p:nvSpPr>
          <p:spPr bwMode="auto">
            <a:xfrm>
              <a:off x="1463" y="3123"/>
              <a:ext cx="785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5F5F5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GB" b="1">
                  <a:solidFill>
                    <a:srgbClr val="000000"/>
                  </a:solidFill>
                  <a:cs typeface="Arial" charset="0"/>
                </a:rPr>
                <a:t>Patient</a:t>
              </a:r>
            </a:p>
          </p:txBody>
        </p:sp>
      </p:grpSp>
      <p:grpSp>
        <p:nvGrpSpPr>
          <p:cNvPr id="247826" name="Group 18"/>
          <p:cNvGrpSpPr>
            <a:grpSpLocks/>
          </p:cNvGrpSpPr>
          <p:nvPr/>
        </p:nvGrpSpPr>
        <p:grpSpPr bwMode="auto">
          <a:xfrm>
            <a:off x="5370513" y="271463"/>
            <a:ext cx="1754187" cy="1508125"/>
            <a:chOff x="1305" y="1479"/>
            <a:chExt cx="1105" cy="950"/>
          </a:xfrm>
        </p:grpSpPr>
        <p:sp>
          <p:nvSpPr>
            <p:cNvPr id="28681" name="Freeform 19"/>
            <p:cNvSpPr>
              <a:spLocks/>
            </p:cNvSpPr>
            <p:nvPr/>
          </p:nvSpPr>
          <p:spPr bwMode="auto">
            <a:xfrm>
              <a:off x="1305" y="1479"/>
              <a:ext cx="1105" cy="950"/>
            </a:xfrm>
            <a:custGeom>
              <a:avLst/>
              <a:gdLst>
                <a:gd name="T0" fmla="*/ 153 w 1612"/>
                <a:gd name="T1" fmla="*/ 305 h 1386"/>
                <a:gd name="T2" fmla="*/ 157 w 1612"/>
                <a:gd name="T3" fmla="*/ 304 h 1386"/>
                <a:gd name="T4" fmla="*/ 158 w 1612"/>
                <a:gd name="T5" fmla="*/ 304 h 1386"/>
                <a:gd name="T6" fmla="*/ 159 w 1612"/>
                <a:gd name="T7" fmla="*/ 302 h 1386"/>
                <a:gd name="T8" fmla="*/ 160 w 1612"/>
                <a:gd name="T9" fmla="*/ 302 h 1386"/>
                <a:gd name="T10" fmla="*/ 161 w 1612"/>
                <a:gd name="T11" fmla="*/ 301 h 1386"/>
                <a:gd name="T12" fmla="*/ 162 w 1612"/>
                <a:gd name="T13" fmla="*/ 300 h 1386"/>
                <a:gd name="T14" fmla="*/ 162 w 1612"/>
                <a:gd name="T15" fmla="*/ 299 h 1386"/>
                <a:gd name="T16" fmla="*/ 163 w 1612"/>
                <a:gd name="T17" fmla="*/ 298 h 1386"/>
                <a:gd name="T18" fmla="*/ 164 w 1612"/>
                <a:gd name="T19" fmla="*/ 297 h 1386"/>
                <a:gd name="T20" fmla="*/ 164 w 1612"/>
                <a:gd name="T21" fmla="*/ 297 h 1386"/>
                <a:gd name="T22" fmla="*/ 158 w 1612"/>
                <a:gd name="T23" fmla="*/ 286 h 1386"/>
                <a:gd name="T24" fmla="*/ 147 w 1612"/>
                <a:gd name="T25" fmla="*/ 277 h 1386"/>
                <a:gd name="T26" fmla="*/ 145 w 1612"/>
                <a:gd name="T27" fmla="*/ 271 h 1386"/>
                <a:gd name="T28" fmla="*/ 149 w 1612"/>
                <a:gd name="T29" fmla="*/ 264 h 1386"/>
                <a:gd name="T30" fmla="*/ 168 w 1612"/>
                <a:gd name="T31" fmla="*/ 254 h 1386"/>
                <a:gd name="T32" fmla="*/ 187 w 1612"/>
                <a:gd name="T33" fmla="*/ 254 h 1386"/>
                <a:gd name="T34" fmla="*/ 206 w 1612"/>
                <a:gd name="T35" fmla="*/ 264 h 1386"/>
                <a:gd name="T36" fmla="*/ 210 w 1612"/>
                <a:gd name="T37" fmla="*/ 271 h 1386"/>
                <a:gd name="T38" fmla="*/ 208 w 1612"/>
                <a:gd name="T39" fmla="*/ 277 h 1386"/>
                <a:gd name="T40" fmla="*/ 197 w 1612"/>
                <a:gd name="T41" fmla="*/ 286 h 1386"/>
                <a:gd name="T42" fmla="*/ 192 w 1612"/>
                <a:gd name="T43" fmla="*/ 297 h 1386"/>
                <a:gd name="T44" fmla="*/ 192 w 1612"/>
                <a:gd name="T45" fmla="*/ 297 h 1386"/>
                <a:gd name="T46" fmla="*/ 192 w 1612"/>
                <a:gd name="T47" fmla="*/ 298 h 1386"/>
                <a:gd name="T48" fmla="*/ 193 w 1612"/>
                <a:gd name="T49" fmla="*/ 299 h 1386"/>
                <a:gd name="T50" fmla="*/ 193 w 1612"/>
                <a:gd name="T51" fmla="*/ 300 h 1386"/>
                <a:gd name="T52" fmla="*/ 194 w 1612"/>
                <a:gd name="T53" fmla="*/ 301 h 1386"/>
                <a:gd name="T54" fmla="*/ 195 w 1612"/>
                <a:gd name="T55" fmla="*/ 302 h 1386"/>
                <a:gd name="T56" fmla="*/ 196 w 1612"/>
                <a:gd name="T57" fmla="*/ 302 h 1386"/>
                <a:gd name="T58" fmla="*/ 197 w 1612"/>
                <a:gd name="T59" fmla="*/ 304 h 1386"/>
                <a:gd name="T60" fmla="*/ 198 w 1612"/>
                <a:gd name="T61" fmla="*/ 304 h 1386"/>
                <a:gd name="T62" fmla="*/ 202 w 1612"/>
                <a:gd name="T63" fmla="*/ 305 h 1386"/>
                <a:gd name="T64" fmla="*/ 292 w 1612"/>
                <a:gd name="T65" fmla="*/ 258 h 1386"/>
                <a:gd name="T66" fmla="*/ 293 w 1612"/>
                <a:gd name="T67" fmla="*/ 244 h 1386"/>
                <a:gd name="T68" fmla="*/ 286 w 1612"/>
                <a:gd name="T69" fmla="*/ 239 h 1386"/>
                <a:gd name="T70" fmla="*/ 272 w 1612"/>
                <a:gd name="T71" fmla="*/ 244 h 1386"/>
                <a:gd name="T72" fmla="*/ 260 w 1612"/>
                <a:gd name="T73" fmla="*/ 243 h 1386"/>
                <a:gd name="T74" fmla="*/ 255 w 1612"/>
                <a:gd name="T75" fmla="*/ 236 h 1386"/>
                <a:gd name="T76" fmla="*/ 256 w 1612"/>
                <a:gd name="T77" fmla="*/ 215 h 1386"/>
                <a:gd name="T78" fmla="*/ 266 w 1612"/>
                <a:gd name="T79" fmla="*/ 199 h 1386"/>
                <a:gd name="T80" fmla="*/ 283 w 1612"/>
                <a:gd name="T81" fmla="*/ 187 h 1386"/>
                <a:gd name="T82" fmla="*/ 292 w 1612"/>
                <a:gd name="T83" fmla="*/ 188 h 1386"/>
                <a:gd name="T84" fmla="*/ 298 w 1612"/>
                <a:gd name="T85" fmla="*/ 199 h 1386"/>
                <a:gd name="T86" fmla="*/ 301 w 1612"/>
                <a:gd name="T87" fmla="*/ 212 h 1386"/>
                <a:gd name="T88" fmla="*/ 308 w 1612"/>
                <a:gd name="T89" fmla="*/ 217 h 1386"/>
                <a:gd name="T90" fmla="*/ 353 w 1612"/>
                <a:gd name="T91" fmla="*/ 154 h 1386"/>
                <a:gd name="T92" fmla="*/ 316 w 1612"/>
                <a:gd name="T93" fmla="*/ 84 h 1386"/>
                <a:gd name="T94" fmla="*/ 319 w 1612"/>
                <a:gd name="T95" fmla="*/ 75 h 1386"/>
                <a:gd name="T96" fmla="*/ 331 w 1612"/>
                <a:gd name="T97" fmla="*/ 75 h 1386"/>
                <a:gd name="T98" fmla="*/ 345 w 1612"/>
                <a:gd name="T99" fmla="*/ 80 h 1386"/>
                <a:gd name="T100" fmla="*/ 352 w 1612"/>
                <a:gd name="T101" fmla="*/ 76 h 1386"/>
                <a:gd name="T102" fmla="*/ 356 w 1612"/>
                <a:gd name="T103" fmla="*/ 65 h 1386"/>
                <a:gd name="T104" fmla="*/ 349 w 1612"/>
                <a:gd name="T105" fmla="*/ 44 h 1386"/>
                <a:gd name="T106" fmla="*/ 331 w 1612"/>
                <a:gd name="T107" fmla="*/ 26 h 1386"/>
                <a:gd name="T108" fmla="*/ 320 w 1612"/>
                <a:gd name="T109" fmla="*/ 24 h 1386"/>
                <a:gd name="T110" fmla="*/ 313 w 1612"/>
                <a:gd name="T111" fmla="*/ 31 h 1386"/>
                <a:gd name="T112" fmla="*/ 312 w 1612"/>
                <a:gd name="T113" fmla="*/ 40 h 1386"/>
                <a:gd name="T114" fmla="*/ 307 w 1612"/>
                <a:gd name="T115" fmla="*/ 51 h 1386"/>
                <a:gd name="T116" fmla="*/ 300 w 1612"/>
                <a:gd name="T117" fmla="*/ 53 h 1386"/>
                <a:gd name="T118" fmla="*/ 88 w 1612"/>
                <a:gd name="T119" fmla="*/ 0 h 138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612" h="1386">
                  <a:moveTo>
                    <a:pt x="674" y="1382"/>
                  </a:moveTo>
                  <a:lnTo>
                    <a:pt x="674" y="1382"/>
                  </a:lnTo>
                  <a:lnTo>
                    <a:pt x="670" y="1382"/>
                  </a:lnTo>
                  <a:lnTo>
                    <a:pt x="694" y="1382"/>
                  </a:lnTo>
                  <a:lnTo>
                    <a:pt x="706" y="1378"/>
                  </a:lnTo>
                  <a:lnTo>
                    <a:pt x="708" y="1378"/>
                  </a:lnTo>
                  <a:lnTo>
                    <a:pt x="710" y="1376"/>
                  </a:lnTo>
                  <a:lnTo>
                    <a:pt x="712" y="1374"/>
                  </a:lnTo>
                  <a:lnTo>
                    <a:pt x="714" y="1374"/>
                  </a:lnTo>
                  <a:lnTo>
                    <a:pt x="716" y="1372"/>
                  </a:lnTo>
                  <a:lnTo>
                    <a:pt x="718" y="1372"/>
                  </a:lnTo>
                  <a:lnTo>
                    <a:pt x="720" y="1370"/>
                  </a:lnTo>
                  <a:lnTo>
                    <a:pt x="722" y="1368"/>
                  </a:lnTo>
                  <a:lnTo>
                    <a:pt x="724" y="1368"/>
                  </a:lnTo>
                  <a:lnTo>
                    <a:pt x="726" y="1366"/>
                  </a:lnTo>
                  <a:lnTo>
                    <a:pt x="730" y="1364"/>
                  </a:lnTo>
                  <a:lnTo>
                    <a:pt x="730" y="1362"/>
                  </a:lnTo>
                  <a:lnTo>
                    <a:pt x="732" y="1360"/>
                  </a:lnTo>
                  <a:lnTo>
                    <a:pt x="734" y="1360"/>
                  </a:lnTo>
                  <a:lnTo>
                    <a:pt x="734" y="1358"/>
                  </a:lnTo>
                  <a:lnTo>
                    <a:pt x="736" y="1356"/>
                  </a:lnTo>
                  <a:lnTo>
                    <a:pt x="736" y="1354"/>
                  </a:lnTo>
                  <a:lnTo>
                    <a:pt x="738" y="1354"/>
                  </a:lnTo>
                  <a:lnTo>
                    <a:pt x="738" y="1352"/>
                  </a:lnTo>
                  <a:lnTo>
                    <a:pt x="740" y="1350"/>
                  </a:lnTo>
                  <a:lnTo>
                    <a:pt x="740" y="1348"/>
                  </a:lnTo>
                  <a:lnTo>
                    <a:pt x="740" y="1346"/>
                  </a:lnTo>
                  <a:lnTo>
                    <a:pt x="740" y="1342"/>
                  </a:lnTo>
                  <a:lnTo>
                    <a:pt x="740" y="1330"/>
                  </a:lnTo>
                  <a:lnTo>
                    <a:pt x="736" y="1320"/>
                  </a:lnTo>
                  <a:lnTo>
                    <a:pt x="734" y="1312"/>
                  </a:lnTo>
                  <a:lnTo>
                    <a:pt x="728" y="1306"/>
                  </a:lnTo>
                  <a:lnTo>
                    <a:pt x="716" y="1296"/>
                  </a:lnTo>
                  <a:lnTo>
                    <a:pt x="700" y="1286"/>
                  </a:lnTo>
                  <a:lnTo>
                    <a:pt x="686" y="1278"/>
                  </a:lnTo>
                  <a:lnTo>
                    <a:pt x="674" y="1268"/>
                  </a:lnTo>
                  <a:lnTo>
                    <a:pt x="668" y="1262"/>
                  </a:lnTo>
                  <a:lnTo>
                    <a:pt x="664" y="1254"/>
                  </a:lnTo>
                  <a:lnTo>
                    <a:pt x="662" y="1244"/>
                  </a:lnTo>
                  <a:lnTo>
                    <a:pt x="660" y="1232"/>
                  </a:lnTo>
                  <a:lnTo>
                    <a:pt x="662" y="1222"/>
                  </a:lnTo>
                  <a:lnTo>
                    <a:pt x="664" y="1212"/>
                  </a:lnTo>
                  <a:lnTo>
                    <a:pt x="670" y="1202"/>
                  </a:lnTo>
                  <a:lnTo>
                    <a:pt x="676" y="1194"/>
                  </a:lnTo>
                  <a:lnTo>
                    <a:pt x="684" y="1186"/>
                  </a:lnTo>
                  <a:lnTo>
                    <a:pt x="694" y="1178"/>
                  </a:lnTo>
                  <a:lnTo>
                    <a:pt x="714" y="1166"/>
                  </a:lnTo>
                  <a:lnTo>
                    <a:pt x="738" y="1158"/>
                  </a:lnTo>
                  <a:lnTo>
                    <a:pt x="762" y="1152"/>
                  </a:lnTo>
                  <a:lnTo>
                    <a:pt x="786" y="1150"/>
                  </a:lnTo>
                  <a:lnTo>
                    <a:pt x="804" y="1148"/>
                  </a:lnTo>
                  <a:lnTo>
                    <a:pt x="824" y="1150"/>
                  </a:lnTo>
                  <a:lnTo>
                    <a:pt x="846" y="1152"/>
                  </a:lnTo>
                  <a:lnTo>
                    <a:pt x="870" y="1158"/>
                  </a:lnTo>
                  <a:lnTo>
                    <a:pt x="894" y="1166"/>
                  </a:lnTo>
                  <a:lnTo>
                    <a:pt x="916" y="1178"/>
                  </a:lnTo>
                  <a:lnTo>
                    <a:pt x="924" y="1186"/>
                  </a:lnTo>
                  <a:lnTo>
                    <a:pt x="932" y="1194"/>
                  </a:lnTo>
                  <a:lnTo>
                    <a:pt x="940" y="1202"/>
                  </a:lnTo>
                  <a:lnTo>
                    <a:pt x="944" y="1212"/>
                  </a:lnTo>
                  <a:lnTo>
                    <a:pt x="948" y="1222"/>
                  </a:lnTo>
                  <a:lnTo>
                    <a:pt x="948" y="1232"/>
                  </a:lnTo>
                  <a:lnTo>
                    <a:pt x="948" y="1244"/>
                  </a:lnTo>
                  <a:lnTo>
                    <a:pt x="944" y="1254"/>
                  </a:lnTo>
                  <a:lnTo>
                    <a:pt x="940" y="1262"/>
                  </a:lnTo>
                  <a:lnTo>
                    <a:pt x="936" y="1268"/>
                  </a:lnTo>
                  <a:lnTo>
                    <a:pt x="922" y="1278"/>
                  </a:lnTo>
                  <a:lnTo>
                    <a:pt x="908" y="1286"/>
                  </a:lnTo>
                  <a:lnTo>
                    <a:pt x="894" y="1296"/>
                  </a:lnTo>
                  <a:lnTo>
                    <a:pt x="880" y="1306"/>
                  </a:lnTo>
                  <a:lnTo>
                    <a:pt x="876" y="1312"/>
                  </a:lnTo>
                  <a:lnTo>
                    <a:pt x="872" y="1320"/>
                  </a:lnTo>
                  <a:lnTo>
                    <a:pt x="870" y="1330"/>
                  </a:lnTo>
                  <a:lnTo>
                    <a:pt x="868" y="1342"/>
                  </a:lnTo>
                  <a:lnTo>
                    <a:pt x="868" y="1346"/>
                  </a:lnTo>
                  <a:lnTo>
                    <a:pt x="868" y="1348"/>
                  </a:lnTo>
                  <a:lnTo>
                    <a:pt x="870" y="1350"/>
                  </a:lnTo>
                  <a:lnTo>
                    <a:pt x="870" y="1352"/>
                  </a:lnTo>
                  <a:lnTo>
                    <a:pt x="872" y="1354"/>
                  </a:lnTo>
                  <a:lnTo>
                    <a:pt x="874" y="1356"/>
                  </a:lnTo>
                  <a:lnTo>
                    <a:pt x="874" y="1358"/>
                  </a:lnTo>
                  <a:lnTo>
                    <a:pt x="876" y="1360"/>
                  </a:lnTo>
                  <a:lnTo>
                    <a:pt x="878" y="1362"/>
                  </a:lnTo>
                  <a:lnTo>
                    <a:pt x="880" y="1364"/>
                  </a:lnTo>
                  <a:lnTo>
                    <a:pt x="882" y="1366"/>
                  </a:lnTo>
                  <a:lnTo>
                    <a:pt x="884" y="1368"/>
                  </a:lnTo>
                  <a:lnTo>
                    <a:pt x="886" y="1368"/>
                  </a:lnTo>
                  <a:lnTo>
                    <a:pt x="888" y="1370"/>
                  </a:lnTo>
                  <a:lnTo>
                    <a:pt x="890" y="1372"/>
                  </a:lnTo>
                  <a:lnTo>
                    <a:pt x="892" y="1372"/>
                  </a:lnTo>
                  <a:lnTo>
                    <a:pt x="894" y="1374"/>
                  </a:lnTo>
                  <a:lnTo>
                    <a:pt x="896" y="1374"/>
                  </a:lnTo>
                  <a:lnTo>
                    <a:pt x="898" y="1376"/>
                  </a:lnTo>
                  <a:lnTo>
                    <a:pt x="902" y="1378"/>
                  </a:lnTo>
                  <a:lnTo>
                    <a:pt x="914" y="1382"/>
                  </a:lnTo>
                  <a:lnTo>
                    <a:pt x="940" y="1382"/>
                  </a:lnTo>
                  <a:lnTo>
                    <a:pt x="934" y="1382"/>
                  </a:lnTo>
                  <a:lnTo>
                    <a:pt x="1198" y="1386"/>
                  </a:lnTo>
                  <a:lnTo>
                    <a:pt x="1322" y="1172"/>
                  </a:lnTo>
                  <a:lnTo>
                    <a:pt x="1326" y="1150"/>
                  </a:lnTo>
                  <a:lnTo>
                    <a:pt x="1330" y="1126"/>
                  </a:lnTo>
                  <a:lnTo>
                    <a:pt x="1328" y="1114"/>
                  </a:lnTo>
                  <a:lnTo>
                    <a:pt x="1326" y="1104"/>
                  </a:lnTo>
                  <a:lnTo>
                    <a:pt x="1322" y="1094"/>
                  </a:lnTo>
                  <a:lnTo>
                    <a:pt x="1316" y="1088"/>
                  </a:lnTo>
                  <a:lnTo>
                    <a:pt x="1304" y="1084"/>
                  </a:lnTo>
                  <a:lnTo>
                    <a:pt x="1294" y="1080"/>
                  </a:lnTo>
                  <a:lnTo>
                    <a:pt x="1286" y="1080"/>
                  </a:lnTo>
                  <a:lnTo>
                    <a:pt x="1278" y="1082"/>
                  </a:lnTo>
                  <a:lnTo>
                    <a:pt x="1262" y="1086"/>
                  </a:lnTo>
                  <a:lnTo>
                    <a:pt x="1248" y="1096"/>
                  </a:lnTo>
                  <a:lnTo>
                    <a:pt x="1232" y="1104"/>
                  </a:lnTo>
                  <a:lnTo>
                    <a:pt x="1218" y="1110"/>
                  </a:lnTo>
                  <a:lnTo>
                    <a:pt x="1208" y="1110"/>
                  </a:lnTo>
                  <a:lnTo>
                    <a:pt x="1200" y="1110"/>
                  </a:lnTo>
                  <a:lnTo>
                    <a:pt x="1190" y="1108"/>
                  </a:lnTo>
                  <a:lnTo>
                    <a:pt x="1180" y="1102"/>
                  </a:lnTo>
                  <a:lnTo>
                    <a:pt x="1170" y="1096"/>
                  </a:lnTo>
                  <a:lnTo>
                    <a:pt x="1164" y="1088"/>
                  </a:lnTo>
                  <a:lnTo>
                    <a:pt x="1158" y="1080"/>
                  </a:lnTo>
                  <a:lnTo>
                    <a:pt x="1154" y="1070"/>
                  </a:lnTo>
                  <a:lnTo>
                    <a:pt x="1152" y="1060"/>
                  </a:lnTo>
                  <a:lnTo>
                    <a:pt x="1150" y="1048"/>
                  </a:lnTo>
                  <a:lnTo>
                    <a:pt x="1150" y="1024"/>
                  </a:lnTo>
                  <a:lnTo>
                    <a:pt x="1154" y="998"/>
                  </a:lnTo>
                  <a:lnTo>
                    <a:pt x="1162" y="974"/>
                  </a:lnTo>
                  <a:lnTo>
                    <a:pt x="1170" y="954"/>
                  </a:lnTo>
                  <a:lnTo>
                    <a:pt x="1180" y="936"/>
                  </a:lnTo>
                  <a:lnTo>
                    <a:pt x="1190" y="920"/>
                  </a:lnTo>
                  <a:lnTo>
                    <a:pt x="1204" y="902"/>
                  </a:lnTo>
                  <a:lnTo>
                    <a:pt x="1220" y="884"/>
                  </a:lnTo>
                  <a:lnTo>
                    <a:pt x="1240" y="868"/>
                  </a:lnTo>
                  <a:lnTo>
                    <a:pt x="1260" y="856"/>
                  </a:lnTo>
                  <a:lnTo>
                    <a:pt x="1272" y="850"/>
                  </a:lnTo>
                  <a:lnTo>
                    <a:pt x="1282" y="848"/>
                  </a:lnTo>
                  <a:lnTo>
                    <a:pt x="1292" y="846"/>
                  </a:lnTo>
                  <a:lnTo>
                    <a:pt x="1304" y="846"/>
                  </a:lnTo>
                  <a:lnTo>
                    <a:pt x="1314" y="848"/>
                  </a:lnTo>
                  <a:lnTo>
                    <a:pt x="1324" y="854"/>
                  </a:lnTo>
                  <a:lnTo>
                    <a:pt x="1334" y="860"/>
                  </a:lnTo>
                  <a:lnTo>
                    <a:pt x="1340" y="868"/>
                  </a:lnTo>
                  <a:lnTo>
                    <a:pt x="1346" y="874"/>
                  </a:lnTo>
                  <a:lnTo>
                    <a:pt x="1348" y="882"/>
                  </a:lnTo>
                  <a:lnTo>
                    <a:pt x="1350" y="900"/>
                  </a:lnTo>
                  <a:lnTo>
                    <a:pt x="1350" y="916"/>
                  </a:lnTo>
                  <a:lnTo>
                    <a:pt x="1350" y="932"/>
                  </a:lnTo>
                  <a:lnTo>
                    <a:pt x="1354" y="948"/>
                  </a:lnTo>
                  <a:lnTo>
                    <a:pt x="1358" y="956"/>
                  </a:lnTo>
                  <a:lnTo>
                    <a:pt x="1362" y="964"/>
                  </a:lnTo>
                  <a:lnTo>
                    <a:pt x="1370" y="972"/>
                  </a:lnTo>
                  <a:lnTo>
                    <a:pt x="1380" y="978"/>
                  </a:lnTo>
                  <a:lnTo>
                    <a:pt x="1388" y="980"/>
                  </a:lnTo>
                  <a:lnTo>
                    <a:pt x="1398" y="980"/>
                  </a:lnTo>
                  <a:lnTo>
                    <a:pt x="1408" y="976"/>
                  </a:lnTo>
                  <a:lnTo>
                    <a:pt x="1418" y="972"/>
                  </a:lnTo>
                  <a:lnTo>
                    <a:pt x="1438" y="958"/>
                  </a:lnTo>
                  <a:lnTo>
                    <a:pt x="1456" y="942"/>
                  </a:lnTo>
                  <a:lnTo>
                    <a:pt x="1598" y="696"/>
                  </a:lnTo>
                  <a:lnTo>
                    <a:pt x="1436" y="418"/>
                  </a:lnTo>
                  <a:lnTo>
                    <a:pt x="1434" y="400"/>
                  </a:lnTo>
                  <a:lnTo>
                    <a:pt x="1432" y="382"/>
                  </a:lnTo>
                  <a:lnTo>
                    <a:pt x="1432" y="370"/>
                  </a:lnTo>
                  <a:lnTo>
                    <a:pt x="1434" y="358"/>
                  </a:lnTo>
                  <a:lnTo>
                    <a:pt x="1440" y="348"/>
                  </a:lnTo>
                  <a:lnTo>
                    <a:pt x="1446" y="342"/>
                  </a:lnTo>
                  <a:lnTo>
                    <a:pt x="1456" y="338"/>
                  </a:lnTo>
                  <a:lnTo>
                    <a:pt x="1466" y="334"/>
                  </a:lnTo>
                  <a:lnTo>
                    <a:pt x="1476" y="334"/>
                  </a:lnTo>
                  <a:lnTo>
                    <a:pt x="1484" y="334"/>
                  </a:lnTo>
                  <a:lnTo>
                    <a:pt x="1500" y="340"/>
                  </a:lnTo>
                  <a:lnTo>
                    <a:pt x="1514" y="348"/>
                  </a:lnTo>
                  <a:lnTo>
                    <a:pt x="1528" y="358"/>
                  </a:lnTo>
                  <a:lnTo>
                    <a:pt x="1544" y="364"/>
                  </a:lnTo>
                  <a:lnTo>
                    <a:pt x="1552" y="364"/>
                  </a:lnTo>
                  <a:lnTo>
                    <a:pt x="1562" y="364"/>
                  </a:lnTo>
                  <a:lnTo>
                    <a:pt x="1572" y="362"/>
                  </a:lnTo>
                  <a:lnTo>
                    <a:pt x="1582" y="356"/>
                  </a:lnTo>
                  <a:lnTo>
                    <a:pt x="1590" y="352"/>
                  </a:lnTo>
                  <a:lnTo>
                    <a:pt x="1596" y="346"/>
                  </a:lnTo>
                  <a:lnTo>
                    <a:pt x="1600" y="340"/>
                  </a:lnTo>
                  <a:lnTo>
                    <a:pt x="1604" y="332"/>
                  </a:lnTo>
                  <a:lnTo>
                    <a:pt x="1610" y="316"/>
                  </a:lnTo>
                  <a:lnTo>
                    <a:pt x="1612" y="296"/>
                  </a:lnTo>
                  <a:lnTo>
                    <a:pt x="1608" y="268"/>
                  </a:lnTo>
                  <a:lnTo>
                    <a:pt x="1602" y="242"/>
                  </a:lnTo>
                  <a:lnTo>
                    <a:pt x="1592" y="218"/>
                  </a:lnTo>
                  <a:lnTo>
                    <a:pt x="1582" y="198"/>
                  </a:lnTo>
                  <a:lnTo>
                    <a:pt x="1572" y="182"/>
                  </a:lnTo>
                  <a:lnTo>
                    <a:pt x="1558" y="164"/>
                  </a:lnTo>
                  <a:lnTo>
                    <a:pt x="1542" y="146"/>
                  </a:lnTo>
                  <a:lnTo>
                    <a:pt x="1522" y="130"/>
                  </a:lnTo>
                  <a:lnTo>
                    <a:pt x="1500" y="116"/>
                  </a:lnTo>
                  <a:lnTo>
                    <a:pt x="1490" y="112"/>
                  </a:lnTo>
                  <a:lnTo>
                    <a:pt x="1480" y="108"/>
                  </a:lnTo>
                  <a:lnTo>
                    <a:pt x="1468" y="108"/>
                  </a:lnTo>
                  <a:lnTo>
                    <a:pt x="1458" y="108"/>
                  </a:lnTo>
                  <a:lnTo>
                    <a:pt x="1448" y="110"/>
                  </a:lnTo>
                  <a:lnTo>
                    <a:pt x="1438" y="116"/>
                  </a:lnTo>
                  <a:lnTo>
                    <a:pt x="1430" y="120"/>
                  </a:lnTo>
                  <a:lnTo>
                    <a:pt x="1424" y="126"/>
                  </a:lnTo>
                  <a:lnTo>
                    <a:pt x="1416" y="138"/>
                  </a:lnTo>
                  <a:lnTo>
                    <a:pt x="1412" y="150"/>
                  </a:lnTo>
                  <a:lnTo>
                    <a:pt x="1410" y="164"/>
                  </a:lnTo>
                  <a:lnTo>
                    <a:pt x="1412" y="182"/>
                  </a:lnTo>
                  <a:lnTo>
                    <a:pt x="1410" y="198"/>
                  </a:lnTo>
                  <a:lnTo>
                    <a:pt x="1408" y="212"/>
                  </a:lnTo>
                  <a:lnTo>
                    <a:pt x="1404" y="220"/>
                  </a:lnTo>
                  <a:lnTo>
                    <a:pt x="1398" y="226"/>
                  </a:lnTo>
                  <a:lnTo>
                    <a:pt x="1392" y="234"/>
                  </a:lnTo>
                  <a:lnTo>
                    <a:pt x="1382" y="240"/>
                  </a:lnTo>
                  <a:lnTo>
                    <a:pt x="1376" y="242"/>
                  </a:lnTo>
                  <a:lnTo>
                    <a:pt x="1368" y="242"/>
                  </a:lnTo>
                  <a:lnTo>
                    <a:pt x="1360" y="240"/>
                  </a:lnTo>
                  <a:lnTo>
                    <a:pt x="1352" y="238"/>
                  </a:lnTo>
                  <a:lnTo>
                    <a:pt x="1334" y="228"/>
                  </a:lnTo>
                  <a:lnTo>
                    <a:pt x="1320" y="216"/>
                  </a:lnTo>
                  <a:lnTo>
                    <a:pt x="1198" y="0"/>
                  </a:lnTo>
                  <a:lnTo>
                    <a:pt x="400" y="0"/>
                  </a:lnTo>
                  <a:lnTo>
                    <a:pt x="0" y="694"/>
                  </a:lnTo>
                  <a:lnTo>
                    <a:pt x="398" y="1384"/>
                  </a:lnTo>
                  <a:lnTo>
                    <a:pt x="400" y="1382"/>
                  </a:lnTo>
                  <a:lnTo>
                    <a:pt x="674" y="1382"/>
                  </a:lnTo>
                  <a:close/>
                </a:path>
              </a:pathLst>
            </a:custGeom>
            <a:solidFill>
              <a:srgbClr val="20B7EC"/>
            </a:solidFill>
            <a:ln w="38100" cap="flat" cmpd="sng">
              <a:solidFill>
                <a:srgbClr val="5F5F5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E"/>
            </a:p>
          </p:txBody>
        </p:sp>
        <p:sp>
          <p:nvSpPr>
            <p:cNvPr id="28682" name="Text Box 20"/>
            <p:cNvSpPr txBox="1">
              <a:spLocks noChangeArrowheads="1"/>
            </p:cNvSpPr>
            <p:nvPr/>
          </p:nvSpPr>
          <p:spPr bwMode="auto">
            <a:xfrm flipH="1">
              <a:off x="1463" y="1758"/>
              <a:ext cx="890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5F5F5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GB" b="1">
                  <a:solidFill>
                    <a:srgbClr val="000000"/>
                  </a:solidFill>
                  <a:cs typeface="Arial" charset="0"/>
                </a:rPr>
                <a:t>Medic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87887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-2.65896E-6 L 0.28316 -0.02543 " pathEditMode="relative" rAng="0" ptsTypes="AA">
                                      <p:cBhvr>
                                        <p:cTn id="6" dur="1000" fill="hold"/>
                                        <p:tgtEl>
                                          <p:spTgt spid="2478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149" y="-127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8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889E-6 4.33526E-6 L -0.15729 0.08023 " pathEditMode="relative" rAng="0" ptsTypes="AA">
                                      <p:cBhvr>
                                        <p:cTn id="9" dur="1000" fill="hold"/>
                                        <p:tgtEl>
                                          <p:spTgt spid="2478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865" y="40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11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-4.27746E-6 L -0.19688 -0.06497 " pathEditMode="relative" rAng="0" ptsTypes="AA">
                                      <p:cBhvr>
                                        <p:cTn id="12" dur="1000" fill="hold"/>
                                        <p:tgtEl>
                                          <p:spTgt spid="2478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844" y="-326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14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2118 3.69942E-6 L -0.11216 -0.10798 " pathEditMode="relative" rAng="0" ptsTypes="AA">
                                      <p:cBhvr>
                                        <p:cTn id="15" dur="1000" fill="hold"/>
                                        <p:tgtEl>
                                          <p:spTgt spid="2478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667" y="-541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17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4.39306E-6 L 0.24271 -0.12047 " pathEditMode="relative" rAng="0" ptsTypes="AA">
                                      <p:cBhvr>
                                        <p:cTn id="18" dur="1000" fill="hold"/>
                                        <p:tgtEl>
                                          <p:spTgt spid="2478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135" y="-603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afterGroup">
                            <p:stCondLst>
                              <p:cond delay="5000"/>
                            </p:stCondLst>
                            <p:childTnLst>
                              <p:par>
                                <p:cTn id="20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-0.02751 L -0.29444 0.2911 " pathEditMode="relative" rAng="0" ptsTypes="AA">
                                      <p:cBhvr>
                                        <p:cTn id="21" dur="1000" fill="hold"/>
                                        <p:tgtEl>
                                          <p:spTgt spid="2478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722" y="1593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title"/>
          </p:nvPr>
        </p:nvSpPr>
        <p:spPr>
          <a:xfrm>
            <a:off x="1004888" y="288925"/>
            <a:ext cx="6877050" cy="936625"/>
          </a:xfrm>
        </p:spPr>
        <p:txBody>
          <a:bodyPr/>
          <a:lstStyle/>
          <a:p>
            <a:pPr eaLnBrk="1" hangingPunct="1"/>
            <a:r>
              <a:rPr lang="en-IE" sz="6200" b="1" smtClean="0">
                <a:solidFill>
                  <a:srgbClr val="091D67"/>
                </a:solidFill>
              </a:rPr>
              <a:t>Piece missing!</a:t>
            </a:r>
            <a:endParaRPr lang="en-GB" sz="6200" b="1" smtClean="0">
              <a:solidFill>
                <a:srgbClr val="091D67"/>
              </a:solidFill>
            </a:endParaRPr>
          </a:p>
        </p:txBody>
      </p:sp>
      <p:sp>
        <p:nvSpPr>
          <p:cNvPr id="29699" name="Rectangle 3"/>
          <p:cNvSpPr>
            <a:spLocks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endParaRPr lang="en-US" sz="4400">
              <a:solidFill>
                <a:schemeClr val="tx2"/>
              </a:solidFill>
            </a:endParaRPr>
          </a:p>
        </p:txBody>
      </p:sp>
      <p:grpSp>
        <p:nvGrpSpPr>
          <p:cNvPr id="29700" name="Group 4"/>
          <p:cNvGrpSpPr>
            <a:grpSpLocks/>
          </p:cNvGrpSpPr>
          <p:nvPr/>
        </p:nvGrpSpPr>
        <p:grpSpPr bwMode="auto">
          <a:xfrm>
            <a:off x="3932238" y="1282700"/>
            <a:ext cx="1833562" cy="1508125"/>
            <a:chOff x="2428" y="893"/>
            <a:chExt cx="1155" cy="950"/>
          </a:xfrm>
        </p:grpSpPr>
        <p:sp>
          <p:nvSpPr>
            <p:cNvPr id="29716" name="Freeform 5"/>
            <p:cNvSpPr>
              <a:spLocks/>
            </p:cNvSpPr>
            <p:nvPr/>
          </p:nvSpPr>
          <p:spPr bwMode="auto">
            <a:xfrm>
              <a:off x="2428" y="893"/>
              <a:ext cx="1122" cy="950"/>
            </a:xfrm>
            <a:custGeom>
              <a:avLst/>
              <a:gdLst>
                <a:gd name="T0" fmla="*/ 44 w 1636"/>
                <a:gd name="T1" fmla="*/ 200 h 1386"/>
                <a:gd name="T2" fmla="*/ 47 w 1636"/>
                <a:gd name="T3" fmla="*/ 192 h 1386"/>
                <a:gd name="T4" fmla="*/ 47 w 1636"/>
                <a:gd name="T5" fmla="*/ 184 h 1386"/>
                <a:gd name="T6" fmla="*/ 51 w 1636"/>
                <a:gd name="T7" fmla="*/ 177 h 1386"/>
                <a:gd name="T8" fmla="*/ 58 w 1636"/>
                <a:gd name="T9" fmla="*/ 173 h 1386"/>
                <a:gd name="T10" fmla="*/ 67 w 1636"/>
                <a:gd name="T11" fmla="*/ 175 h 1386"/>
                <a:gd name="T12" fmla="*/ 83 w 1636"/>
                <a:gd name="T13" fmla="*/ 190 h 1386"/>
                <a:gd name="T14" fmla="*/ 90 w 1636"/>
                <a:gd name="T15" fmla="*/ 204 h 1386"/>
                <a:gd name="T16" fmla="*/ 92 w 1636"/>
                <a:gd name="T17" fmla="*/ 217 h 1386"/>
                <a:gd name="T18" fmla="*/ 89 w 1636"/>
                <a:gd name="T19" fmla="*/ 228 h 1386"/>
                <a:gd name="T20" fmla="*/ 84 w 1636"/>
                <a:gd name="T21" fmla="*/ 232 h 1386"/>
                <a:gd name="T22" fmla="*/ 77 w 1636"/>
                <a:gd name="T23" fmla="*/ 234 h 1386"/>
                <a:gd name="T24" fmla="*/ 63 w 1636"/>
                <a:gd name="T25" fmla="*/ 227 h 1386"/>
                <a:gd name="T26" fmla="*/ 55 w 1636"/>
                <a:gd name="T27" fmla="*/ 229 h 1386"/>
                <a:gd name="T28" fmla="*/ 52 w 1636"/>
                <a:gd name="T29" fmla="*/ 234 h 1386"/>
                <a:gd name="T30" fmla="*/ 53 w 1636"/>
                <a:gd name="T31" fmla="*/ 243 h 1386"/>
                <a:gd name="T32" fmla="*/ 88 w 1636"/>
                <a:gd name="T33" fmla="*/ 305 h 1386"/>
                <a:gd name="T34" fmla="*/ 147 w 1636"/>
                <a:gd name="T35" fmla="*/ 306 h 1386"/>
                <a:gd name="T36" fmla="*/ 161 w 1636"/>
                <a:gd name="T37" fmla="*/ 300 h 1386"/>
                <a:gd name="T38" fmla="*/ 163 w 1636"/>
                <a:gd name="T39" fmla="*/ 293 h 1386"/>
                <a:gd name="T40" fmla="*/ 157 w 1636"/>
                <a:gd name="T41" fmla="*/ 284 h 1386"/>
                <a:gd name="T42" fmla="*/ 146 w 1636"/>
                <a:gd name="T43" fmla="*/ 277 h 1386"/>
                <a:gd name="T44" fmla="*/ 145 w 1636"/>
                <a:gd name="T45" fmla="*/ 271 h 1386"/>
                <a:gd name="T46" fmla="*/ 148 w 1636"/>
                <a:gd name="T47" fmla="*/ 262 h 1386"/>
                <a:gd name="T48" fmla="*/ 162 w 1636"/>
                <a:gd name="T49" fmla="*/ 255 h 1386"/>
                <a:gd name="T50" fmla="*/ 176 w 1636"/>
                <a:gd name="T51" fmla="*/ 252 h 1386"/>
                <a:gd name="T52" fmla="*/ 197 w 1636"/>
                <a:gd name="T53" fmla="*/ 256 h 1386"/>
                <a:gd name="T54" fmla="*/ 207 w 1636"/>
                <a:gd name="T55" fmla="*/ 265 h 1386"/>
                <a:gd name="T56" fmla="*/ 208 w 1636"/>
                <a:gd name="T57" fmla="*/ 271 h 1386"/>
                <a:gd name="T58" fmla="*/ 206 w 1636"/>
                <a:gd name="T59" fmla="*/ 279 h 1386"/>
                <a:gd name="T60" fmla="*/ 193 w 1636"/>
                <a:gd name="T61" fmla="*/ 287 h 1386"/>
                <a:gd name="T62" fmla="*/ 191 w 1636"/>
                <a:gd name="T63" fmla="*/ 295 h 1386"/>
                <a:gd name="T64" fmla="*/ 194 w 1636"/>
                <a:gd name="T65" fmla="*/ 301 h 1386"/>
                <a:gd name="T66" fmla="*/ 264 w 1636"/>
                <a:gd name="T67" fmla="*/ 306 h 1386"/>
                <a:gd name="T68" fmla="*/ 265 w 1636"/>
                <a:gd name="T69" fmla="*/ 304 h 1386"/>
                <a:gd name="T70" fmla="*/ 296 w 1636"/>
                <a:gd name="T71" fmla="*/ 252 h 1386"/>
                <a:gd name="T72" fmla="*/ 309 w 1636"/>
                <a:gd name="T73" fmla="*/ 244 h 1386"/>
                <a:gd name="T74" fmla="*/ 314 w 1636"/>
                <a:gd name="T75" fmla="*/ 246 h 1386"/>
                <a:gd name="T76" fmla="*/ 318 w 1636"/>
                <a:gd name="T77" fmla="*/ 254 h 1386"/>
                <a:gd name="T78" fmla="*/ 320 w 1636"/>
                <a:gd name="T79" fmla="*/ 267 h 1386"/>
                <a:gd name="T80" fmla="*/ 324 w 1636"/>
                <a:gd name="T81" fmla="*/ 271 h 1386"/>
                <a:gd name="T82" fmla="*/ 333 w 1636"/>
                <a:gd name="T83" fmla="*/ 273 h 1386"/>
                <a:gd name="T84" fmla="*/ 346 w 1636"/>
                <a:gd name="T85" fmla="*/ 265 h 1386"/>
                <a:gd name="T86" fmla="*/ 356 w 1636"/>
                <a:gd name="T87" fmla="*/ 254 h 1386"/>
                <a:gd name="T88" fmla="*/ 361 w 1636"/>
                <a:gd name="T89" fmla="*/ 241 h 1386"/>
                <a:gd name="T90" fmla="*/ 361 w 1636"/>
                <a:gd name="T91" fmla="*/ 226 h 1386"/>
                <a:gd name="T92" fmla="*/ 355 w 1636"/>
                <a:gd name="T93" fmla="*/ 219 h 1386"/>
                <a:gd name="T94" fmla="*/ 348 w 1636"/>
                <a:gd name="T95" fmla="*/ 217 h 1386"/>
                <a:gd name="T96" fmla="*/ 335 w 1636"/>
                <a:gd name="T97" fmla="*/ 223 h 1386"/>
                <a:gd name="T98" fmla="*/ 326 w 1636"/>
                <a:gd name="T99" fmla="*/ 222 h 1386"/>
                <a:gd name="T100" fmla="*/ 322 w 1636"/>
                <a:gd name="T101" fmla="*/ 217 h 1386"/>
                <a:gd name="T102" fmla="*/ 324 w 1636"/>
                <a:gd name="T103" fmla="*/ 204 h 1386"/>
                <a:gd name="T104" fmla="*/ 350 w 1636"/>
                <a:gd name="T105" fmla="*/ 147 h 1386"/>
                <a:gd name="T106" fmla="*/ 71 w 1636"/>
                <a:gd name="T107" fmla="*/ 29 h 1386"/>
                <a:gd name="T108" fmla="*/ 29 w 1636"/>
                <a:gd name="T109" fmla="*/ 199 h 1386"/>
                <a:gd name="T110" fmla="*/ 39 w 1636"/>
                <a:gd name="T111" fmla="*/ 204 h 138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36" h="1386">
                  <a:moveTo>
                    <a:pt x="184" y="918"/>
                  </a:moveTo>
                  <a:lnTo>
                    <a:pt x="184" y="918"/>
                  </a:lnTo>
                  <a:lnTo>
                    <a:pt x="192" y="912"/>
                  </a:lnTo>
                  <a:lnTo>
                    <a:pt x="198" y="906"/>
                  </a:lnTo>
                  <a:lnTo>
                    <a:pt x="204" y="900"/>
                  </a:lnTo>
                  <a:lnTo>
                    <a:pt x="208" y="894"/>
                  </a:lnTo>
                  <a:lnTo>
                    <a:pt x="212" y="882"/>
                  </a:lnTo>
                  <a:lnTo>
                    <a:pt x="214" y="868"/>
                  </a:lnTo>
                  <a:lnTo>
                    <a:pt x="212" y="850"/>
                  </a:lnTo>
                  <a:lnTo>
                    <a:pt x="214" y="834"/>
                  </a:lnTo>
                  <a:lnTo>
                    <a:pt x="216" y="820"/>
                  </a:lnTo>
                  <a:lnTo>
                    <a:pt x="220" y="812"/>
                  </a:lnTo>
                  <a:lnTo>
                    <a:pt x="224" y="806"/>
                  </a:lnTo>
                  <a:lnTo>
                    <a:pt x="232" y="800"/>
                  </a:lnTo>
                  <a:lnTo>
                    <a:pt x="240" y="794"/>
                  </a:lnTo>
                  <a:lnTo>
                    <a:pt x="250" y="788"/>
                  </a:lnTo>
                  <a:lnTo>
                    <a:pt x="260" y="786"/>
                  </a:lnTo>
                  <a:lnTo>
                    <a:pt x="270" y="786"/>
                  </a:lnTo>
                  <a:lnTo>
                    <a:pt x="282" y="786"/>
                  </a:lnTo>
                  <a:lnTo>
                    <a:pt x="292" y="790"/>
                  </a:lnTo>
                  <a:lnTo>
                    <a:pt x="302" y="794"/>
                  </a:lnTo>
                  <a:lnTo>
                    <a:pt x="324" y="808"/>
                  </a:lnTo>
                  <a:lnTo>
                    <a:pt x="344" y="824"/>
                  </a:lnTo>
                  <a:lnTo>
                    <a:pt x="360" y="842"/>
                  </a:lnTo>
                  <a:lnTo>
                    <a:pt x="374" y="860"/>
                  </a:lnTo>
                  <a:lnTo>
                    <a:pt x="384" y="876"/>
                  </a:lnTo>
                  <a:lnTo>
                    <a:pt x="396" y="898"/>
                  </a:lnTo>
                  <a:lnTo>
                    <a:pt x="406" y="924"/>
                  </a:lnTo>
                  <a:lnTo>
                    <a:pt x="412" y="954"/>
                  </a:lnTo>
                  <a:lnTo>
                    <a:pt x="414" y="968"/>
                  </a:lnTo>
                  <a:lnTo>
                    <a:pt x="414" y="982"/>
                  </a:lnTo>
                  <a:lnTo>
                    <a:pt x="414" y="1004"/>
                  </a:lnTo>
                  <a:lnTo>
                    <a:pt x="412" y="1014"/>
                  </a:lnTo>
                  <a:lnTo>
                    <a:pt x="408" y="1022"/>
                  </a:lnTo>
                  <a:lnTo>
                    <a:pt x="404" y="1032"/>
                  </a:lnTo>
                  <a:lnTo>
                    <a:pt x="398" y="1038"/>
                  </a:lnTo>
                  <a:lnTo>
                    <a:pt x="392" y="1046"/>
                  </a:lnTo>
                  <a:lnTo>
                    <a:pt x="384" y="1050"/>
                  </a:lnTo>
                  <a:lnTo>
                    <a:pt x="374" y="1056"/>
                  </a:lnTo>
                  <a:lnTo>
                    <a:pt x="364" y="1058"/>
                  </a:lnTo>
                  <a:lnTo>
                    <a:pt x="354" y="1058"/>
                  </a:lnTo>
                  <a:lnTo>
                    <a:pt x="346" y="1058"/>
                  </a:lnTo>
                  <a:lnTo>
                    <a:pt x="330" y="1052"/>
                  </a:lnTo>
                  <a:lnTo>
                    <a:pt x="316" y="1042"/>
                  </a:lnTo>
                  <a:lnTo>
                    <a:pt x="302" y="1034"/>
                  </a:lnTo>
                  <a:lnTo>
                    <a:pt x="286" y="1028"/>
                  </a:lnTo>
                  <a:lnTo>
                    <a:pt x="278" y="1028"/>
                  </a:lnTo>
                  <a:lnTo>
                    <a:pt x="268" y="1028"/>
                  </a:lnTo>
                  <a:lnTo>
                    <a:pt x="258" y="1032"/>
                  </a:lnTo>
                  <a:lnTo>
                    <a:pt x="248" y="1036"/>
                  </a:lnTo>
                  <a:lnTo>
                    <a:pt x="242" y="1042"/>
                  </a:lnTo>
                  <a:lnTo>
                    <a:pt x="238" y="1048"/>
                  </a:lnTo>
                  <a:lnTo>
                    <a:pt x="236" y="1058"/>
                  </a:lnTo>
                  <a:lnTo>
                    <a:pt x="234" y="1068"/>
                  </a:lnTo>
                  <a:lnTo>
                    <a:pt x="236" y="1086"/>
                  </a:lnTo>
                  <a:lnTo>
                    <a:pt x="240" y="1102"/>
                  </a:lnTo>
                  <a:lnTo>
                    <a:pt x="398" y="1378"/>
                  </a:lnTo>
                  <a:lnTo>
                    <a:pt x="402" y="1378"/>
                  </a:lnTo>
                  <a:lnTo>
                    <a:pt x="402" y="1380"/>
                  </a:lnTo>
                  <a:lnTo>
                    <a:pt x="400" y="1382"/>
                  </a:lnTo>
                  <a:lnTo>
                    <a:pt x="402" y="1386"/>
                  </a:lnTo>
                  <a:lnTo>
                    <a:pt x="664" y="1386"/>
                  </a:lnTo>
                  <a:lnTo>
                    <a:pt x="686" y="1380"/>
                  </a:lnTo>
                  <a:lnTo>
                    <a:pt x="708" y="1368"/>
                  </a:lnTo>
                  <a:lnTo>
                    <a:pt x="718" y="1362"/>
                  </a:lnTo>
                  <a:lnTo>
                    <a:pt x="726" y="1356"/>
                  </a:lnTo>
                  <a:lnTo>
                    <a:pt x="732" y="1346"/>
                  </a:lnTo>
                  <a:lnTo>
                    <a:pt x="734" y="1338"/>
                  </a:lnTo>
                  <a:lnTo>
                    <a:pt x="734" y="1326"/>
                  </a:lnTo>
                  <a:lnTo>
                    <a:pt x="730" y="1316"/>
                  </a:lnTo>
                  <a:lnTo>
                    <a:pt x="728" y="1308"/>
                  </a:lnTo>
                  <a:lnTo>
                    <a:pt x="722" y="1302"/>
                  </a:lnTo>
                  <a:lnTo>
                    <a:pt x="710" y="1290"/>
                  </a:lnTo>
                  <a:lnTo>
                    <a:pt x="694" y="1282"/>
                  </a:lnTo>
                  <a:lnTo>
                    <a:pt x="680" y="1274"/>
                  </a:lnTo>
                  <a:lnTo>
                    <a:pt x="668" y="1264"/>
                  </a:lnTo>
                  <a:lnTo>
                    <a:pt x="662" y="1256"/>
                  </a:lnTo>
                  <a:lnTo>
                    <a:pt x="658" y="1248"/>
                  </a:lnTo>
                  <a:lnTo>
                    <a:pt x="656" y="1240"/>
                  </a:lnTo>
                  <a:lnTo>
                    <a:pt x="654" y="1228"/>
                  </a:lnTo>
                  <a:lnTo>
                    <a:pt x="656" y="1216"/>
                  </a:lnTo>
                  <a:lnTo>
                    <a:pt x="658" y="1206"/>
                  </a:lnTo>
                  <a:lnTo>
                    <a:pt x="664" y="1198"/>
                  </a:lnTo>
                  <a:lnTo>
                    <a:pt x="670" y="1188"/>
                  </a:lnTo>
                  <a:lnTo>
                    <a:pt x="678" y="1180"/>
                  </a:lnTo>
                  <a:lnTo>
                    <a:pt x="688" y="1174"/>
                  </a:lnTo>
                  <a:lnTo>
                    <a:pt x="708" y="1162"/>
                  </a:lnTo>
                  <a:lnTo>
                    <a:pt x="732" y="1154"/>
                  </a:lnTo>
                  <a:lnTo>
                    <a:pt x="756" y="1148"/>
                  </a:lnTo>
                  <a:lnTo>
                    <a:pt x="780" y="1144"/>
                  </a:lnTo>
                  <a:lnTo>
                    <a:pt x="798" y="1144"/>
                  </a:lnTo>
                  <a:lnTo>
                    <a:pt x="818" y="1144"/>
                  </a:lnTo>
                  <a:lnTo>
                    <a:pt x="840" y="1148"/>
                  </a:lnTo>
                  <a:lnTo>
                    <a:pt x="864" y="1154"/>
                  </a:lnTo>
                  <a:lnTo>
                    <a:pt x="888" y="1162"/>
                  </a:lnTo>
                  <a:lnTo>
                    <a:pt x="910" y="1174"/>
                  </a:lnTo>
                  <a:lnTo>
                    <a:pt x="918" y="1180"/>
                  </a:lnTo>
                  <a:lnTo>
                    <a:pt x="926" y="1188"/>
                  </a:lnTo>
                  <a:lnTo>
                    <a:pt x="934" y="1198"/>
                  </a:lnTo>
                  <a:lnTo>
                    <a:pt x="938" y="1206"/>
                  </a:lnTo>
                  <a:lnTo>
                    <a:pt x="942" y="1216"/>
                  </a:lnTo>
                  <a:lnTo>
                    <a:pt x="942" y="1228"/>
                  </a:lnTo>
                  <a:lnTo>
                    <a:pt x="942" y="1240"/>
                  </a:lnTo>
                  <a:lnTo>
                    <a:pt x="938" y="1248"/>
                  </a:lnTo>
                  <a:lnTo>
                    <a:pt x="934" y="1256"/>
                  </a:lnTo>
                  <a:lnTo>
                    <a:pt x="930" y="1264"/>
                  </a:lnTo>
                  <a:lnTo>
                    <a:pt x="916" y="1274"/>
                  </a:lnTo>
                  <a:lnTo>
                    <a:pt x="902" y="1282"/>
                  </a:lnTo>
                  <a:lnTo>
                    <a:pt x="888" y="1290"/>
                  </a:lnTo>
                  <a:lnTo>
                    <a:pt x="874" y="1302"/>
                  </a:lnTo>
                  <a:lnTo>
                    <a:pt x="870" y="1308"/>
                  </a:lnTo>
                  <a:lnTo>
                    <a:pt x="866" y="1316"/>
                  </a:lnTo>
                  <a:lnTo>
                    <a:pt x="864" y="1326"/>
                  </a:lnTo>
                  <a:lnTo>
                    <a:pt x="862" y="1338"/>
                  </a:lnTo>
                  <a:lnTo>
                    <a:pt x="864" y="1346"/>
                  </a:lnTo>
                  <a:lnTo>
                    <a:pt x="870" y="1356"/>
                  </a:lnTo>
                  <a:lnTo>
                    <a:pt x="878" y="1362"/>
                  </a:lnTo>
                  <a:lnTo>
                    <a:pt x="888" y="1368"/>
                  </a:lnTo>
                  <a:lnTo>
                    <a:pt x="912" y="1380"/>
                  </a:lnTo>
                  <a:lnTo>
                    <a:pt x="934" y="1386"/>
                  </a:lnTo>
                  <a:lnTo>
                    <a:pt x="1194" y="1386"/>
                  </a:lnTo>
                  <a:lnTo>
                    <a:pt x="1198" y="1380"/>
                  </a:lnTo>
                  <a:lnTo>
                    <a:pt x="1198" y="1378"/>
                  </a:lnTo>
                  <a:lnTo>
                    <a:pt x="1202" y="1378"/>
                  </a:lnTo>
                  <a:lnTo>
                    <a:pt x="1204" y="1372"/>
                  </a:lnTo>
                  <a:lnTo>
                    <a:pt x="1240" y="1310"/>
                  </a:lnTo>
                  <a:lnTo>
                    <a:pt x="1340" y="1138"/>
                  </a:lnTo>
                  <a:lnTo>
                    <a:pt x="1356" y="1124"/>
                  </a:lnTo>
                  <a:lnTo>
                    <a:pt x="1376" y="1112"/>
                  </a:lnTo>
                  <a:lnTo>
                    <a:pt x="1384" y="1108"/>
                  </a:lnTo>
                  <a:lnTo>
                    <a:pt x="1394" y="1104"/>
                  </a:lnTo>
                  <a:lnTo>
                    <a:pt x="1402" y="1104"/>
                  </a:lnTo>
                  <a:lnTo>
                    <a:pt x="1410" y="1108"/>
                  </a:lnTo>
                  <a:lnTo>
                    <a:pt x="1420" y="1114"/>
                  </a:lnTo>
                  <a:lnTo>
                    <a:pt x="1426" y="1122"/>
                  </a:lnTo>
                  <a:lnTo>
                    <a:pt x="1432" y="1128"/>
                  </a:lnTo>
                  <a:lnTo>
                    <a:pt x="1436" y="1136"/>
                  </a:lnTo>
                  <a:lnTo>
                    <a:pt x="1438" y="1152"/>
                  </a:lnTo>
                  <a:lnTo>
                    <a:pt x="1438" y="1170"/>
                  </a:lnTo>
                  <a:lnTo>
                    <a:pt x="1438" y="1186"/>
                  </a:lnTo>
                  <a:lnTo>
                    <a:pt x="1440" y="1202"/>
                  </a:lnTo>
                  <a:lnTo>
                    <a:pt x="1444" y="1210"/>
                  </a:lnTo>
                  <a:lnTo>
                    <a:pt x="1448" y="1218"/>
                  </a:lnTo>
                  <a:lnTo>
                    <a:pt x="1456" y="1226"/>
                  </a:lnTo>
                  <a:lnTo>
                    <a:pt x="1466" y="1232"/>
                  </a:lnTo>
                  <a:lnTo>
                    <a:pt x="1476" y="1236"/>
                  </a:lnTo>
                  <a:lnTo>
                    <a:pt x="1486" y="1240"/>
                  </a:lnTo>
                  <a:lnTo>
                    <a:pt x="1496" y="1240"/>
                  </a:lnTo>
                  <a:lnTo>
                    <a:pt x="1506" y="1238"/>
                  </a:lnTo>
                  <a:lnTo>
                    <a:pt x="1518" y="1234"/>
                  </a:lnTo>
                  <a:lnTo>
                    <a:pt x="1528" y="1230"/>
                  </a:lnTo>
                  <a:lnTo>
                    <a:pt x="1550" y="1218"/>
                  </a:lnTo>
                  <a:lnTo>
                    <a:pt x="1568" y="1202"/>
                  </a:lnTo>
                  <a:lnTo>
                    <a:pt x="1586" y="1184"/>
                  </a:lnTo>
                  <a:lnTo>
                    <a:pt x="1600" y="1166"/>
                  </a:lnTo>
                  <a:lnTo>
                    <a:pt x="1610" y="1150"/>
                  </a:lnTo>
                  <a:lnTo>
                    <a:pt x="1618" y="1132"/>
                  </a:lnTo>
                  <a:lnTo>
                    <a:pt x="1628" y="1112"/>
                  </a:lnTo>
                  <a:lnTo>
                    <a:pt x="1632" y="1094"/>
                  </a:lnTo>
                  <a:lnTo>
                    <a:pt x="1636" y="1076"/>
                  </a:lnTo>
                  <a:lnTo>
                    <a:pt x="1636" y="1060"/>
                  </a:lnTo>
                  <a:lnTo>
                    <a:pt x="1636" y="1042"/>
                  </a:lnTo>
                  <a:lnTo>
                    <a:pt x="1634" y="1026"/>
                  </a:lnTo>
                  <a:lnTo>
                    <a:pt x="1628" y="1012"/>
                  </a:lnTo>
                  <a:lnTo>
                    <a:pt x="1618" y="1000"/>
                  </a:lnTo>
                  <a:lnTo>
                    <a:pt x="1606" y="990"/>
                  </a:lnTo>
                  <a:lnTo>
                    <a:pt x="1596" y="986"/>
                  </a:lnTo>
                  <a:lnTo>
                    <a:pt x="1586" y="984"/>
                  </a:lnTo>
                  <a:lnTo>
                    <a:pt x="1578" y="982"/>
                  </a:lnTo>
                  <a:lnTo>
                    <a:pt x="1570" y="984"/>
                  </a:lnTo>
                  <a:lnTo>
                    <a:pt x="1554" y="990"/>
                  </a:lnTo>
                  <a:lnTo>
                    <a:pt x="1540" y="998"/>
                  </a:lnTo>
                  <a:lnTo>
                    <a:pt x="1524" y="1006"/>
                  </a:lnTo>
                  <a:lnTo>
                    <a:pt x="1510" y="1012"/>
                  </a:lnTo>
                  <a:lnTo>
                    <a:pt x="1500" y="1014"/>
                  </a:lnTo>
                  <a:lnTo>
                    <a:pt x="1492" y="1012"/>
                  </a:lnTo>
                  <a:lnTo>
                    <a:pt x="1482" y="1010"/>
                  </a:lnTo>
                  <a:lnTo>
                    <a:pt x="1472" y="1004"/>
                  </a:lnTo>
                  <a:lnTo>
                    <a:pt x="1464" y="1000"/>
                  </a:lnTo>
                  <a:lnTo>
                    <a:pt x="1460" y="992"/>
                  </a:lnTo>
                  <a:lnTo>
                    <a:pt x="1458" y="982"/>
                  </a:lnTo>
                  <a:lnTo>
                    <a:pt x="1458" y="972"/>
                  </a:lnTo>
                  <a:lnTo>
                    <a:pt x="1458" y="950"/>
                  </a:lnTo>
                  <a:lnTo>
                    <a:pt x="1462" y="928"/>
                  </a:lnTo>
                  <a:lnTo>
                    <a:pt x="1464" y="926"/>
                  </a:lnTo>
                  <a:lnTo>
                    <a:pt x="1466" y="920"/>
                  </a:lnTo>
                  <a:lnTo>
                    <a:pt x="1598" y="692"/>
                  </a:lnTo>
                  <a:lnTo>
                    <a:pt x="1582" y="668"/>
                  </a:lnTo>
                  <a:lnTo>
                    <a:pt x="1584" y="668"/>
                  </a:lnTo>
                  <a:lnTo>
                    <a:pt x="1198" y="0"/>
                  </a:lnTo>
                  <a:lnTo>
                    <a:pt x="398" y="0"/>
                  </a:lnTo>
                  <a:lnTo>
                    <a:pt x="322" y="132"/>
                  </a:lnTo>
                  <a:lnTo>
                    <a:pt x="0" y="690"/>
                  </a:lnTo>
                  <a:lnTo>
                    <a:pt x="116" y="888"/>
                  </a:lnTo>
                  <a:lnTo>
                    <a:pt x="132" y="902"/>
                  </a:lnTo>
                  <a:lnTo>
                    <a:pt x="150" y="914"/>
                  </a:lnTo>
                  <a:lnTo>
                    <a:pt x="160" y="918"/>
                  </a:lnTo>
                  <a:lnTo>
                    <a:pt x="168" y="920"/>
                  </a:lnTo>
                  <a:lnTo>
                    <a:pt x="176" y="920"/>
                  </a:lnTo>
                  <a:lnTo>
                    <a:pt x="184" y="918"/>
                  </a:lnTo>
                  <a:close/>
                </a:path>
              </a:pathLst>
            </a:custGeom>
            <a:solidFill>
              <a:srgbClr val="438DEF"/>
            </a:solidFill>
            <a:ln w="38100" cap="flat" cmpd="sng">
              <a:solidFill>
                <a:srgbClr val="5F5F5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E"/>
            </a:p>
          </p:txBody>
        </p:sp>
        <p:sp>
          <p:nvSpPr>
            <p:cNvPr id="29717" name="Text Box 6"/>
            <p:cNvSpPr txBox="1">
              <a:spLocks noChangeArrowheads="1"/>
            </p:cNvSpPr>
            <p:nvPr/>
          </p:nvSpPr>
          <p:spPr bwMode="auto">
            <a:xfrm>
              <a:off x="2428" y="1221"/>
              <a:ext cx="1155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5F5F5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IE" b="1">
                  <a:solidFill>
                    <a:srgbClr val="000000"/>
                  </a:solidFill>
                  <a:cs typeface="Arial" charset="0"/>
                </a:rPr>
                <a:t>Manufacturer</a:t>
              </a:r>
              <a:endParaRPr lang="en-GB" b="1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29701" name="Group 7"/>
          <p:cNvGrpSpPr>
            <a:grpSpLocks/>
          </p:cNvGrpSpPr>
          <p:nvPr/>
        </p:nvGrpSpPr>
        <p:grpSpPr bwMode="auto">
          <a:xfrm>
            <a:off x="5226050" y="2036763"/>
            <a:ext cx="1739900" cy="1765300"/>
            <a:chOff x="3632" y="1479"/>
            <a:chExt cx="1096" cy="1112"/>
          </a:xfrm>
        </p:grpSpPr>
        <p:sp>
          <p:nvSpPr>
            <p:cNvPr id="29714" name="Freeform 8"/>
            <p:cNvSpPr>
              <a:spLocks/>
            </p:cNvSpPr>
            <p:nvPr/>
          </p:nvSpPr>
          <p:spPr bwMode="auto">
            <a:xfrm>
              <a:off x="3632" y="1479"/>
              <a:ext cx="1096" cy="1112"/>
            </a:xfrm>
            <a:custGeom>
              <a:avLst/>
              <a:gdLst>
                <a:gd name="T0" fmla="*/ 58 w 1600"/>
                <a:gd name="T1" fmla="*/ 58 h 1624"/>
                <a:gd name="T2" fmla="*/ 63 w 1600"/>
                <a:gd name="T3" fmla="*/ 69 h 1624"/>
                <a:gd name="T4" fmla="*/ 82 w 1600"/>
                <a:gd name="T5" fmla="*/ 64 h 1624"/>
                <a:gd name="T6" fmla="*/ 93 w 1600"/>
                <a:gd name="T7" fmla="*/ 68 h 1624"/>
                <a:gd name="T8" fmla="*/ 95 w 1600"/>
                <a:gd name="T9" fmla="*/ 94 h 1624"/>
                <a:gd name="T10" fmla="*/ 82 w 1600"/>
                <a:gd name="T11" fmla="*/ 115 h 1624"/>
                <a:gd name="T12" fmla="*/ 60 w 1600"/>
                <a:gd name="T13" fmla="*/ 123 h 1624"/>
                <a:gd name="T14" fmla="*/ 53 w 1600"/>
                <a:gd name="T15" fmla="*/ 112 h 1624"/>
                <a:gd name="T16" fmla="*/ 47 w 1600"/>
                <a:gd name="T17" fmla="*/ 94 h 1624"/>
                <a:gd name="T18" fmla="*/ 31 w 1600"/>
                <a:gd name="T19" fmla="*/ 101 h 1624"/>
                <a:gd name="T20" fmla="*/ 31 w 1600"/>
                <a:gd name="T21" fmla="*/ 205 h 1624"/>
                <a:gd name="T22" fmla="*/ 47 w 1600"/>
                <a:gd name="T23" fmla="*/ 213 h 1624"/>
                <a:gd name="T24" fmla="*/ 53 w 1600"/>
                <a:gd name="T25" fmla="*/ 199 h 1624"/>
                <a:gd name="T26" fmla="*/ 59 w 1600"/>
                <a:gd name="T27" fmla="*/ 186 h 1624"/>
                <a:gd name="T28" fmla="*/ 77 w 1600"/>
                <a:gd name="T29" fmla="*/ 188 h 1624"/>
                <a:gd name="T30" fmla="*/ 95 w 1600"/>
                <a:gd name="T31" fmla="*/ 212 h 1624"/>
                <a:gd name="T32" fmla="*/ 95 w 1600"/>
                <a:gd name="T33" fmla="*/ 237 h 1624"/>
                <a:gd name="T34" fmla="*/ 83 w 1600"/>
                <a:gd name="T35" fmla="*/ 242 h 1624"/>
                <a:gd name="T36" fmla="*/ 63 w 1600"/>
                <a:gd name="T37" fmla="*/ 236 h 1624"/>
                <a:gd name="T38" fmla="*/ 59 w 1600"/>
                <a:gd name="T39" fmla="*/ 250 h 1624"/>
                <a:gd name="T40" fmla="*/ 147 w 1600"/>
                <a:gd name="T41" fmla="*/ 305 h 1624"/>
                <a:gd name="T42" fmla="*/ 151 w 1600"/>
                <a:gd name="T43" fmla="*/ 306 h 1624"/>
                <a:gd name="T44" fmla="*/ 153 w 1600"/>
                <a:gd name="T45" fmla="*/ 307 h 1624"/>
                <a:gd name="T46" fmla="*/ 155 w 1600"/>
                <a:gd name="T47" fmla="*/ 308 h 1624"/>
                <a:gd name="T48" fmla="*/ 157 w 1600"/>
                <a:gd name="T49" fmla="*/ 310 h 1624"/>
                <a:gd name="T50" fmla="*/ 159 w 1600"/>
                <a:gd name="T51" fmla="*/ 311 h 1624"/>
                <a:gd name="T52" fmla="*/ 160 w 1600"/>
                <a:gd name="T53" fmla="*/ 313 h 1624"/>
                <a:gd name="T54" fmla="*/ 160 w 1600"/>
                <a:gd name="T55" fmla="*/ 314 h 1624"/>
                <a:gd name="T56" fmla="*/ 160 w 1600"/>
                <a:gd name="T57" fmla="*/ 316 h 1624"/>
                <a:gd name="T58" fmla="*/ 160 w 1600"/>
                <a:gd name="T59" fmla="*/ 318 h 1624"/>
                <a:gd name="T60" fmla="*/ 155 w 1600"/>
                <a:gd name="T61" fmla="*/ 325 h 1624"/>
                <a:gd name="T62" fmla="*/ 148 w 1600"/>
                <a:gd name="T63" fmla="*/ 328 h 1624"/>
                <a:gd name="T64" fmla="*/ 145 w 1600"/>
                <a:gd name="T65" fmla="*/ 331 h 1624"/>
                <a:gd name="T66" fmla="*/ 144 w 1600"/>
                <a:gd name="T67" fmla="*/ 333 h 1624"/>
                <a:gd name="T68" fmla="*/ 142 w 1600"/>
                <a:gd name="T69" fmla="*/ 337 h 1624"/>
                <a:gd name="T70" fmla="*/ 143 w 1600"/>
                <a:gd name="T71" fmla="*/ 344 h 1624"/>
                <a:gd name="T72" fmla="*/ 164 w 1600"/>
                <a:gd name="T73" fmla="*/ 356 h 1624"/>
                <a:gd name="T74" fmla="*/ 194 w 1600"/>
                <a:gd name="T75" fmla="*/ 353 h 1624"/>
                <a:gd name="T76" fmla="*/ 206 w 1600"/>
                <a:gd name="T77" fmla="*/ 338 h 1624"/>
                <a:gd name="T78" fmla="*/ 205 w 1600"/>
                <a:gd name="T79" fmla="*/ 334 h 1624"/>
                <a:gd name="T80" fmla="*/ 203 w 1600"/>
                <a:gd name="T81" fmla="*/ 331 h 1624"/>
                <a:gd name="T82" fmla="*/ 202 w 1600"/>
                <a:gd name="T83" fmla="*/ 330 h 1624"/>
                <a:gd name="T84" fmla="*/ 199 w 1600"/>
                <a:gd name="T85" fmla="*/ 328 h 1624"/>
                <a:gd name="T86" fmla="*/ 190 w 1600"/>
                <a:gd name="T87" fmla="*/ 321 h 1624"/>
                <a:gd name="T88" fmla="*/ 188 w 1600"/>
                <a:gd name="T89" fmla="*/ 318 h 1624"/>
                <a:gd name="T90" fmla="*/ 188 w 1600"/>
                <a:gd name="T91" fmla="*/ 316 h 1624"/>
                <a:gd name="T92" fmla="*/ 188 w 1600"/>
                <a:gd name="T93" fmla="*/ 314 h 1624"/>
                <a:gd name="T94" fmla="*/ 188 w 1600"/>
                <a:gd name="T95" fmla="*/ 313 h 1624"/>
                <a:gd name="T96" fmla="*/ 189 w 1600"/>
                <a:gd name="T97" fmla="*/ 312 h 1624"/>
                <a:gd name="T98" fmla="*/ 190 w 1600"/>
                <a:gd name="T99" fmla="*/ 310 h 1624"/>
                <a:gd name="T100" fmla="*/ 192 w 1600"/>
                <a:gd name="T101" fmla="*/ 308 h 1624"/>
                <a:gd name="T102" fmla="*/ 195 w 1600"/>
                <a:gd name="T103" fmla="*/ 307 h 1624"/>
                <a:gd name="T104" fmla="*/ 197 w 1600"/>
                <a:gd name="T105" fmla="*/ 307 h 1624"/>
                <a:gd name="T106" fmla="*/ 201 w 1600"/>
                <a:gd name="T107" fmla="*/ 305 h 1624"/>
                <a:gd name="T108" fmla="*/ 264 w 1600"/>
                <a:gd name="T109" fmla="*/ 0 h 16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00" h="1624">
                  <a:moveTo>
                    <a:pt x="1200" y="0"/>
                  </a:moveTo>
                  <a:lnTo>
                    <a:pt x="402" y="0"/>
                  </a:lnTo>
                  <a:lnTo>
                    <a:pt x="400" y="6"/>
                  </a:lnTo>
                  <a:lnTo>
                    <a:pt x="400" y="8"/>
                  </a:lnTo>
                  <a:lnTo>
                    <a:pt x="266" y="240"/>
                  </a:lnTo>
                  <a:lnTo>
                    <a:pt x="262" y="260"/>
                  </a:lnTo>
                  <a:lnTo>
                    <a:pt x="262" y="282"/>
                  </a:lnTo>
                  <a:lnTo>
                    <a:pt x="264" y="290"/>
                  </a:lnTo>
                  <a:lnTo>
                    <a:pt x="266" y="298"/>
                  </a:lnTo>
                  <a:lnTo>
                    <a:pt x="270" y="306"/>
                  </a:lnTo>
                  <a:lnTo>
                    <a:pt x="276" y="310"/>
                  </a:lnTo>
                  <a:lnTo>
                    <a:pt x="286" y="316"/>
                  </a:lnTo>
                  <a:lnTo>
                    <a:pt x="296" y="318"/>
                  </a:lnTo>
                  <a:lnTo>
                    <a:pt x="306" y="320"/>
                  </a:lnTo>
                  <a:lnTo>
                    <a:pt x="314" y="318"/>
                  </a:lnTo>
                  <a:lnTo>
                    <a:pt x="330" y="312"/>
                  </a:lnTo>
                  <a:lnTo>
                    <a:pt x="344" y="304"/>
                  </a:lnTo>
                  <a:lnTo>
                    <a:pt x="358" y="296"/>
                  </a:lnTo>
                  <a:lnTo>
                    <a:pt x="374" y="290"/>
                  </a:lnTo>
                  <a:lnTo>
                    <a:pt x="382" y="288"/>
                  </a:lnTo>
                  <a:lnTo>
                    <a:pt x="392" y="290"/>
                  </a:lnTo>
                  <a:lnTo>
                    <a:pt x="400" y="292"/>
                  </a:lnTo>
                  <a:lnTo>
                    <a:pt x="412" y="296"/>
                  </a:lnTo>
                  <a:lnTo>
                    <a:pt x="418" y="302"/>
                  </a:lnTo>
                  <a:lnTo>
                    <a:pt x="424" y="306"/>
                  </a:lnTo>
                  <a:lnTo>
                    <a:pt x="434" y="320"/>
                  </a:lnTo>
                  <a:lnTo>
                    <a:pt x="438" y="336"/>
                  </a:lnTo>
                  <a:lnTo>
                    <a:pt x="442" y="352"/>
                  </a:lnTo>
                  <a:lnTo>
                    <a:pt x="442" y="370"/>
                  </a:lnTo>
                  <a:lnTo>
                    <a:pt x="438" y="390"/>
                  </a:lnTo>
                  <a:lnTo>
                    <a:pt x="434" y="408"/>
                  </a:lnTo>
                  <a:lnTo>
                    <a:pt x="430" y="426"/>
                  </a:lnTo>
                  <a:lnTo>
                    <a:pt x="420" y="450"/>
                  </a:lnTo>
                  <a:lnTo>
                    <a:pt x="410" y="472"/>
                  </a:lnTo>
                  <a:lnTo>
                    <a:pt x="398" y="488"/>
                  </a:lnTo>
                  <a:lnTo>
                    <a:pt x="384" y="506"/>
                  </a:lnTo>
                  <a:lnTo>
                    <a:pt x="368" y="524"/>
                  </a:lnTo>
                  <a:lnTo>
                    <a:pt x="348" y="540"/>
                  </a:lnTo>
                  <a:lnTo>
                    <a:pt x="328" y="552"/>
                  </a:lnTo>
                  <a:lnTo>
                    <a:pt x="318" y="556"/>
                  </a:lnTo>
                  <a:lnTo>
                    <a:pt x="306" y="560"/>
                  </a:lnTo>
                  <a:lnTo>
                    <a:pt x="296" y="562"/>
                  </a:lnTo>
                  <a:lnTo>
                    <a:pt x="284" y="562"/>
                  </a:lnTo>
                  <a:lnTo>
                    <a:pt x="274" y="558"/>
                  </a:lnTo>
                  <a:lnTo>
                    <a:pt x="264" y="554"/>
                  </a:lnTo>
                  <a:lnTo>
                    <a:pt x="256" y="548"/>
                  </a:lnTo>
                  <a:lnTo>
                    <a:pt x="248" y="540"/>
                  </a:lnTo>
                  <a:lnTo>
                    <a:pt x="244" y="532"/>
                  </a:lnTo>
                  <a:lnTo>
                    <a:pt x="240" y="524"/>
                  </a:lnTo>
                  <a:lnTo>
                    <a:pt x="238" y="508"/>
                  </a:lnTo>
                  <a:lnTo>
                    <a:pt x="238" y="492"/>
                  </a:lnTo>
                  <a:lnTo>
                    <a:pt x="238" y="474"/>
                  </a:lnTo>
                  <a:lnTo>
                    <a:pt x="234" y="458"/>
                  </a:lnTo>
                  <a:lnTo>
                    <a:pt x="232" y="450"/>
                  </a:lnTo>
                  <a:lnTo>
                    <a:pt x="226" y="444"/>
                  </a:lnTo>
                  <a:lnTo>
                    <a:pt x="218" y="436"/>
                  </a:lnTo>
                  <a:lnTo>
                    <a:pt x="210" y="430"/>
                  </a:lnTo>
                  <a:lnTo>
                    <a:pt x="202" y="426"/>
                  </a:lnTo>
                  <a:lnTo>
                    <a:pt x="192" y="426"/>
                  </a:lnTo>
                  <a:lnTo>
                    <a:pt x="184" y="430"/>
                  </a:lnTo>
                  <a:lnTo>
                    <a:pt x="174" y="434"/>
                  </a:lnTo>
                  <a:lnTo>
                    <a:pt x="156" y="446"/>
                  </a:lnTo>
                  <a:lnTo>
                    <a:pt x="140" y="460"/>
                  </a:lnTo>
                  <a:lnTo>
                    <a:pt x="40" y="632"/>
                  </a:lnTo>
                  <a:lnTo>
                    <a:pt x="4" y="694"/>
                  </a:lnTo>
                  <a:lnTo>
                    <a:pt x="0" y="694"/>
                  </a:lnTo>
                  <a:lnTo>
                    <a:pt x="2" y="696"/>
                  </a:lnTo>
                  <a:lnTo>
                    <a:pt x="4" y="696"/>
                  </a:lnTo>
                  <a:lnTo>
                    <a:pt x="140" y="934"/>
                  </a:lnTo>
                  <a:lnTo>
                    <a:pt x="158" y="948"/>
                  </a:lnTo>
                  <a:lnTo>
                    <a:pt x="176" y="962"/>
                  </a:lnTo>
                  <a:lnTo>
                    <a:pt x="186" y="968"/>
                  </a:lnTo>
                  <a:lnTo>
                    <a:pt x="196" y="970"/>
                  </a:lnTo>
                  <a:lnTo>
                    <a:pt x="206" y="970"/>
                  </a:lnTo>
                  <a:lnTo>
                    <a:pt x="214" y="968"/>
                  </a:lnTo>
                  <a:lnTo>
                    <a:pt x="224" y="960"/>
                  </a:lnTo>
                  <a:lnTo>
                    <a:pt x="230" y="954"/>
                  </a:lnTo>
                  <a:lnTo>
                    <a:pt x="236" y="946"/>
                  </a:lnTo>
                  <a:lnTo>
                    <a:pt x="240" y="938"/>
                  </a:lnTo>
                  <a:lnTo>
                    <a:pt x="242" y="922"/>
                  </a:lnTo>
                  <a:lnTo>
                    <a:pt x="242" y="906"/>
                  </a:lnTo>
                  <a:lnTo>
                    <a:pt x="242" y="888"/>
                  </a:lnTo>
                  <a:lnTo>
                    <a:pt x="244" y="872"/>
                  </a:lnTo>
                  <a:lnTo>
                    <a:pt x="248" y="864"/>
                  </a:lnTo>
                  <a:lnTo>
                    <a:pt x="252" y="858"/>
                  </a:lnTo>
                  <a:lnTo>
                    <a:pt x="260" y="850"/>
                  </a:lnTo>
                  <a:lnTo>
                    <a:pt x="268" y="844"/>
                  </a:lnTo>
                  <a:lnTo>
                    <a:pt x="278" y="838"/>
                  </a:lnTo>
                  <a:lnTo>
                    <a:pt x="290" y="836"/>
                  </a:lnTo>
                  <a:lnTo>
                    <a:pt x="300" y="836"/>
                  </a:lnTo>
                  <a:lnTo>
                    <a:pt x="310" y="836"/>
                  </a:lnTo>
                  <a:lnTo>
                    <a:pt x="322" y="840"/>
                  </a:lnTo>
                  <a:lnTo>
                    <a:pt x="332" y="844"/>
                  </a:lnTo>
                  <a:lnTo>
                    <a:pt x="352" y="858"/>
                  </a:lnTo>
                  <a:lnTo>
                    <a:pt x="372" y="874"/>
                  </a:lnTo>
                  <a:lnTo>
                    <a:pt x="390" y="892"/>
                  </a:lnTo>
                  <a:lnTo>
                    <a:pt x="404" y="910"/>
                  </a:lnTo>
                  <a:lnTo>
                    <a:pt x="414" y="926"/>
                  </a:lnTo>
                  <a:lnTo>
                    <a:pt x="422" y="944"/>
                  </a:lnTo>
                  <a:lnTo>
                    <a:pt x="432" y="964"/>
                  </a:lnTo>
                  <a:lnTo>
                    <a:pt x="438" y="988"/>
                  </a:lnTo>
                  <a:lnTo>
                    <a:pt x="442" y="1012"/>
                  </a:lnTo>
                  <a:lnTo>
                    <a:pt x="444" y="1038"/>
                  </a:lnTo>
                  <a:lnTo>
                    <a:pt x="442" y="1048"/>
                  </a:lnTo>
                  <a:lnTo>
                    <a:pt x="440" y="1060"/>
                  </a:lnTo>
                  <a:lnTo>
                    <a:pt x="436" y="1070"/>
                  </a:lnTo>
                  <a:lnTo>
                    <a:pt x="430" y="1078"/>
                  </a:lnTo>
                  <a:lnTo>
                    <a:pt x="422" y="1086"/>
                  </a:lnTo>
                  <a:lnTo>
                    <a:pt x="412" y="1092"/>
                  </a:lnTo>
                  <a:lnTo>
                    <a:pt x="402" y="1098"/>
                  </a:lnTo>
                  <a:lnTo>
                    <a:pt x="392" y="1100"/>
                  </a:lnTo>
                  <a:lnTo>
                    <a:pt x="384" y="1100"/>
                  </a:lnTo>
                  <a:lnTo>
                    <a:pt x="376" y="1100"/>
                  </a:lnTo>
                  <a:lnTo>
                    <a:pt x="360" y="1094"/>
                  </a:lnTo>
                  <a:lnTo>
                    <a:pt x="346" y="1084"/>
                  </a:lnTo>
                  <a:lnTo>
                    <a:pt x="330" y="1076"/>
                  </a:lnTo>
                  <a:lnTo>
                    <a:pt x="316" y="1070"/>
                  </a:lnTo>
                  <a:lnTo>
                    <a:pt x="306" y="1070"/>
                  </a:lnTo>
                  <a:lnTo>
                    <a:pt x="298" y="1070"/>
                  </a:lnTo>
                  <a:lnTo>
                    <a:pt x="288" y="1074"/>
                  </a:lnTo>
                  <a:lnTo>
                    <a:pt x="278" y="1078"/>
                  </a:lnTo>
                  <a:lnTo>
                    <a:pt x="272" y="1084"/>
                  </a:lnTo>
                  <a:lnTo>
                    <a:pt x="266" y="1092"/>
                  </a:lnTo>
                  <a:lnTo>
                    <a:pt x="264" y="1102"/>
                  </a:lnTo>
                  <a:lnTo>
                    <a:pt x="264" y="1114"/>
                  </a:lnTo>
                  <a:lnTo>
                    <a:pt x="266" y="1136"/>
                  </a:lnTo>
                  <a:lnTo>
                    <a:pt x="270" y="1158"/>
                  </a:lnTo>
                  <a:lnTo>
                    <a:pt x="402" y="1386"/>
                  </a:lnTo>
                  <a:lnTo>
                    <a:pt x="668" y="1386"/>
                  </a:lnTo>
                  <a:lnTo>
                    <a:pt x="674" y="1388"/>
                  </a:lnTo>
                  <a:lnTo>
                    <a:pt x="686" y="1392"/>
                  </a:lnTo>
                  <a:lnTo>
                    <a:pt x="688" y="1394"/>
                  </a:lnTo>
                  <a:lnTo>
                    <a:pt x="692" y="1394"/>
                  </a:lnTo>
                  <a:lnTo>
                    <a:pt x="694" y="1396"/>
                  </a:lnTo>
                  <a:lnTo>
                    <a:pt x="696" y="1398"/>
                  </a:lnTo>
                  <a:lnTo>
                    <a:pt x="700" y="1398"/>
                  </a:lnTo>
                  <a:lnTo>
                    <a:pt x="702" y="1400"/>
                  </a:lnTo>
                  <a:lnTo>
                    <a:pt x="704" y="1402"/>
                  </a:lnTo>
                  <a:lnTo>
                    <a:pt x="706" y="1402"/>
                  </a:lnTo>
                  <a:lnTo>
                    <a:pt x="710" y="1406"/>
                  </a:lnTo>
                  <a:lnTo>
                    <a:pt x="714" y="1410"/>
                  </a:lnTo>
                  <a:lnTo>
                    <a:pt x="716" y="1410"/>
                  </a:lnTo>
                  <a:lnTo>
                    <a:pt x="718" y="1412"/>
                  </a:lnTo>
                  <a:lnTo>
                    <a:pt x="720" y="1414"/>
                  </a:lnTo>
                  <a:lnTo>
                    <a:pt x="722" y="1416"/>
                  </a:lnTo>
                  <a:lnTo>
                    <a:pt x="722" y="1418"/>
                  </a:lnTo>
                  <a:lnTo>
                    <a:pt x="724" y="1420"/>
                  </a:lnTo>
                  <a:lnTo>
                    <a:pt x="724" y="1422"/>
                  </a:lnTo>
                  <a:lnTo>
                    <a:pt x="726" y="1424"/>
                  </a:lnTo>
                  <a:lnTo>
                    <a:pt x="726" y="1426"/>
                  </a:lnTo>
                  <a:lnTo>
                    <a:pt x="726" y="1430"/>
                  </a:lnTo>
                  <a:lnTo>
                    <a:pt x="726" y="1436"/>
                  </a:lnTo>
                  <a:lnTo>
                    <a:pt x="726" y="1438"/>
                  </a:lnTo>
                  <a:lnTo>
                    <a:pt x="726" y="1442"/>
                  </a:lnTo>
                  <a:lnTo>
                    <a:pt x="724" y="1444"/>
                  </a:lnTo>
                  <a:lnTo>
                    <a:pt x="724" y="1448"/>
                  </a:lnTo>
                  <a:lnTo>
                    <a:pt x="720" y="1458"/>
                  </a:lnTo>
                  <a:lnTo>
                    <a:pt x="716" y="1464"/>
                  </a:lnTo>
                  <a:lnTo>
                    <a:pt x="710" y="1470"/>
                  </a:lnTo>
                  <a:lnTo>
                    <a:pt x="704" y="1476"/>
                  </a:lnTo>
                  <a:lnTo>
                    <a:pt x="690" y="1484"/>
                  </a:lnTo>
                  <a:lnTo>
                    <a:pt x="676" y="1492"/>
                  </a:lnTo>
                  <a:lnTo>
                    <a:pt x="674" y="1494"/>
                  </a:lnTo>
                  <a:lnTo>
                    <a:pt x="672" y="1494"/>
                  </a:lnTo>
                  <a:lnTo>
                    <a:pt x="668" y="1498"/>
                  </a:lnTo>
                  <a:lnTo>
                    <a:pt x="666" y="1498"/>
                  </a:lnTo>
                  <a:lnTo>
                    <a:pt x="662" y="1502"/>
                  </a:lnTo>
                  <a:lnTo>
                    <a:pt x="660" y="1504"/>
                  </a:lnTo>
                  <a:lnTo>
                    <a:pt x="656" y="1508"/>
                  </a:lnTo>
                  <a:lnTo>
                    <a:pt x="652" y="1514"/>
                  </a:lnTo>
                  <a:lnTo>
                    <a:pt x="650" y="1522"/>
                  </a:lnTo>
                  <a:lnTo>
                    <a:pt x="648" y="1530"/>
                  </a:lnTo>
                  <a:lnTo>
                    <a:pt x="648" y="1532"/>
                  </a:lnTo>
                  <a:lnTo>
                    <a:pt x="646" y="1540"/>
                  </a:lnTo>
                  <a:lnTo>
                    <a:pt x="648" y="1552"/>
                  </a:lnTo>
                  <a:lnTo>
                    <a:pt x="650" y="1562"/>
                  </a:lnTo>
                  <a:lnTo>
                    <a:pt x="656" y="1572"/>
                  </a:lnTo>
                  <a:lnTo>
                    <a:pt x="662" y="1580"/>
                  </a:lnTo>
                  <a:lnTo>
                    <a:pt x="670" y="1588"/>
                  </a:lnTo>
                  <a:lnTo>
                    <a:pt x="680" y="1594"/>
                  </a:lnTo>
                  <a:lnTo>
                    <a:pt x="700" y="1606"/>
                  </a:lnTo>
                  <a:lnTo>
                    <a:pt x="724" y="1614"/>
                  </a:lnTo>
                  <a:lnTo>
                    <a:pt x="748" y="1620"/>
                  </a:lnTo>
                  <a:lnTo>
                    <a:pt x="770" y="1624"/>
                  </a:lnTo>
                  <a:lnTo>
                    <a:pt x="790" y="1624"/>
                  </a:lnTo>
                  <a:lnTo>
                    <a:pt x="810" y="1624"/>
                  </a:lnTo>
                  <a:lnTo>
                    <a:pt x="832" y="1620"/>
                  </a:lnTo>
                  <a:lnTo>
                    <a:pt x="856" y="1614"/>
                  </a:lnTo>
                  <a:lnTo>
                    <a:pt x="880" y="1606"/>
                  </a:lnTo>
                  <a:lnTo>
                    <a:pt x="902" y="1594"/>
                  </a:lnTo>
                  <a:lnTo>
                    <a:pt x="910" y="1588"/>
                  </a:lnTo>
                  <a:lnTo>
                    <a:pt x="918" y="1580"/>
                  </a:lnTo>
                  <a:lnTo>
                    <a:pt x="926" y="1572"/>
                  </a:lnTo>
                  <a:lnTo>
                    <a:pt x="930" y="1562"/>
                  </a:lnTo>
                  <a:lnTo>
                    <a:pt x="934" y="1552"/>
                  </a:lnTo>
                  <a:lnTo>
                    <a:pt x="934" y="1540"/>
                  </a:lnTo>
                  <a:lnTo>
                    <a:pt x="934" y="1532"/>
                  </a:lnTo>
                  <a:lnTo>
                    <a:pt x="934" y="1530"/>
                  </a:lnTo>
                  <a:lnTo>
                    <a:pt x="932" y="1522"/>
                  </a:lnTo>
                  <a:lnTo>
                    <a:pt x="930" y="1522"/>
                  </a:lnTo>
                  <a:lnTo>
                    <a:pt x="928" y="1514"/>
                  </a:lnTo>
                  <a:lnTo>
                    <a:pt x="924" y="1508"/>
                  </a:lnTo>
                  <a:lnTo>
                    <a:pt x="920" y="1504"/>
                  </a:lnTo>
                  <a:lnTo>
                    <a:pt x="918" y="1502"/>
                  </a:lnTo>
                  <a:lnTo>
                    <a:pt x="914" y="1498"/>
                  </a:lnTo>
                  <a:lnTo>
                    <a:pt x="912" y="1498"/>
                  </a:lnTo>
                  <a:lnTo>
                    <a:pt x="908" y="1494"/>
                  </a:lnTo>
                  <a:lnTo>
                    <a:pt x="906" y="1494"/>
                  </a:lnTo>
                  <a:lnTo>
                    <a:pt x="904" y="1492"/>
                  </a:lnTo>
                  <a:lnTo>
                    <a:pt x="890" y="1484"/>
                  </a:lnTo>
                  <a:lnTo>
                    <a:pt x="878" y="1476"/>
                  </a:lnTo>
                  <a:lnTo>
                    <a:pt x="866" y="1466"/>
                  </a:lnTo>
                  <a:lnTo>
                    <a:pt x="862" y="1460"/>
                  </a:lnTo>
                  <a:lnTo>
                    <a:pt x="858" y="1454"/>
                  </a:lnTo>
                  <a:lnTo>
                    <a:pt x="856" y="1448"/>
                  </a:lnTo>
                  <a:lnTo>
                    <a:pt x="856" y="1444"/>
                  </a:lnTo>
                  <a:lnTo>
                    <a:pt x="856" y="1442"/>
                  </a:lnTo>
                  <a:lnTo>
                    <a:pt x="854" y="1438"/>
                  </a:lnTo>
                  <a:lnTo>
                    <a:pt x="854" y="1436"/>
                  </a:lnTo>
                  <a:lnTo>
                    <a:pt x="854" y="1430"/>
                  </a:lnTo>
                  <a:lnTo>
                    <a:pt x="854" y="1426"/>
                  </a:lnTo>
                  <a:lnTo>
                    <a:pt x="856" y="1424"/>
                  </a:lnTo>
                  <a:lnTo>
                    <a:pt x="856" y="1422"/>
                  </a:lnTo>
                  <a:lnTo>
                    <a:pt x="856" y="1420"/>
                  </a:lnTo>
                  <a:lnTo>
                    <a:pt x="858" y="1418"/>
                  </a:lnTo>
                  <a:lnTo>
                    <a:pt x="860" y="1416"/>
                  </a:lnTo>
                  <a:lnTo>
                    <a:pt x="862" y="1414"/>
                  </a:lnTo>
                  <a:lnTo>
                    <a:pt x="862" y="1412"/>
                  </a:lnTo>
                  <a:lnTo>
                    <a:pt x="864" y="1410"/>
                  </a:lnTo>
                  <a:lnTo>
                    <a:pt x="866" y="1410"/>
                  </a:lnTo>
                  <a:lnTo>
                    <a:pt x="870" y="1406"/>
                  </a:lnTo>
                  <a:lnTo>
                    <a:pt x="874" y="1402"/>
                  </a:lnTo>
                  <a:lnTo>
                    <a:pt x="876" y="1402"/>
                  </a:lnTo>
                  <a:lnTo>
                    <a:pt x="880" y="1400"/>
                  </a:lnTo>
                  <a:lnTo>
                    <a:pt x="882" y="1398"/>
                  </a:lnTo>
                  <a:lnTo>
                    <a:pt x="884" y="1398"/>
                  </a:lnTo>
                  <a:lnTo>
                    <a:pt x="886" y="1396"/>
                  </a:lnTo>
                  <a:lnTo>
                    <a:pt x="890" y="1394"/>
                  </a:lnTo>
                  <a:lnTo>
                    <a:pt x="892" y="1394"/>
                  </a:lnTo>
                  <a:lnTo>
                    <a:pt x="894" y="1392"/>
                  </a:lnTo>
                  <a:lnTo>
                    <a:pt x="906" y="1388"/>
                  </a:lnTo>
                  <a:lnTo>
                    <a:pt x="908" y="1388"/>
                  </a:lnTo>
                  <a:lnTo>
                    <a:pt x="912" y="1386"/>
                  </a:lnTo>
                  <a:lnTo>
                    <a:pt x="1200" y="1386"/>
                  </a:lnTo>
                  <a:lnTo>
                    <a:pt x="1200" y="1384"/>
                  </a:lnTo>
                  <a:lnTo>
                    <a:pt x="1600" y="694"/>
                  </a:lnTo>
                  <a:lnTo>
                    <a:pt x="1200" y="0"/>
                  </a:lnTo>
                  <a:close/>
                </a:path>
              </a:pathLst>
            </a:custGeom>
            <a:solidFill>
              <a:srgbClr val="FBFB37"/>
            </a:solidFill>
            <a:ln w="38100" cap="flat" cmpd="sng">
              <a:solidFill>
                <a:srgbClr val="5F5F5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E"/>
            </a:p>
          </p:txBody>
        </p:sp>
        <p:sp>
          <p:nvSpPr>
            <p:cNvPr id="29715" name="Text Box 9"/>
            <p:cNvSpPr txBox="1">
              <a:spLocks noChangeArrowheads="1"/>
            </p:cNvSpPr>
            <p:nvPr/>
          </p:nvSpPr>
          <p:spPr bwMode="auto">
            <a:xfrm>
              <a:off x="3805" y="1643"/>
              <a:ext cx="785" cy="5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5F5F5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IE" b="1">
                  <a:solidFill>
                    <a:srgbClr val="000000"/>
                  </a:solidFill>
                  <a:cs typeface="Arial" charset="0"/>
                </a:rPr>
                <a:t>Cold Chain Supplier</a:t>
              </a:r>
              <a:endParaRPr lang="en-GB" b="1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29702" name="Group 10"/>
          <p:cNvGrpSpPr>
            <a:grpSpLocks/>
          </p:cNvGrpSpPr>
          <p:nvPr/>
        </p:nvGrpSpPr>
        <p:grpSpPr bwMode="auto">
          <a:xfrm>
            <a:off x="5170488" y="3546475"/>
            <a:ext cx="1739900" cy="1503363"/>
            <a:chOff x="3632" y="2767"/>
            <a:chExt cx="1096" cy="947"/>
          </a:xfrm>
        </p:grpSpPr>
        <p:sp>
          <p:nvSpPr>
            <p:cNvPr id="29712" name="Freeform 11"/>
            <p:cNvSpPr>
              <a:spLocks/>
            </p:cNvSpPr>
            <p:nvPr/>
          </p:nvSpPr>
          <p:spPr bwMode="auto">
            <a:xfrm>
              <a:off x="3632" y="2767"/>
              <a:ext cx="1096" cy="947"/>
            </a:xfrm>
            <a:custGeom>
              <a:avLst/>
              <a:gdLst>
                <a:gd name="T0" fmla="*/ 200 w 1600"/>
                <a:gd name="T1" fmla="*/ 1 h 1382"/>
                <a:gd name="T2" fmla="*/ 197 w 1600"/>
                <a:gd name="T3" fmla="*/ 2 h 1382"/>
                <a:gd name="T4" fmla="*/ 195 w 1600"/>
                <a:gd name="T5" fmla="*/ 3 h 1382"/>
                <a:gd name="T6" fmla="*/ 193 w 1600"/>
                <a:gd name="T7" fmla="*/ 3 h 1382"/>
                <a:gd name="T8" fmla="*/ 191 w 1600"/>
                <a:gd name="T9" fmla="*/ 5 h 1382"/>
                <a:gd name="T10" fmla="*/ 190 w 1600"/>
                <a:gd name="T11" fmla="*/ 6 h 1382"/>
                <a:gd name="T12" fmla="*/ 189 w 1600"/>
                <a:gd name="T13" fmla="*/ 8 h 1382"/>
                <a:gd name="T14" fmla="*/ 188 w 1600"/>
                <a:gd name="T15" fmla="*/ 9 h 1382"/>
                <a:gd name="T16" fmla="*/ 188 w 1600"/>
                <a:gd name="T17" fmla="*/ 10 h 1382"/>
                <a:gd name="T18" fmla="*/ 188 w 1600"/>
                <a:gd name="T19" fmla="*/ 13 h 1382"/>
                <a:gd name="T20" fmla="*/ 188 w 1600"/>
                <a:gd name="T21" fmla="*/ 14 h 1382"/>
                <a:gd name="T22" fmla="*/ 190 w 1600"/>
                <a:gd name="T23" fmla="*/ 18 h 1382"/>
                <a:gd name="T24" fmla="*/ 199 w 1600"/>
                <a:gd name="T25" fmla="*/ 24 h 1382"/>
                <a:gd name="T26" fmla="*/ 201 w 1600"/>
                <a:gd name="T27" fmla="*/ 25 h 1382"/>
                <a:gd name="T28" fmla="*/ 203 w 1600"/>
                <a:gd name="T29" fmla="*/ 27 h 1382"/>
                <a:gd name="T30" fmla="*/ 205 w 1600"/>
                <a:gd name="T31" fmla="*/ 29 h 1382"/>
                <a:gd name="T32" fmla="*/ 206 w 1600"/>
                <a:gd name="T33" fmla="*/ 32 h 1382"/>
                <a:gd name="T34" fmla="*/ 206 w 1600"/>
                <a:gd name="T35" fmla="*/ 34 h 1382"/>
                <a:gd name="T36" fmla="*/ 200 w 1600"/>
                <a:gd name="T37" fmla="*/ 45 h 1382"/>
                <a:gd name="T38" fmla="*/ 174 w 1600"/>
                <a:gd name="T39" fmla="*/ 53 h 1382"/>
                <a:gd name="T40" fmla="*/ 150 w 1600"/>
                <a:gd name="T41" fmla="*/ 47 h 1382"/>
                <a:gd name="T42" fmla="*/ 142 w 1600"/>
                <a:gd name="T43" fmla="*/ 34 h 1382"/>
                <a:gd name="T44" fmla="*/ 142 w 1600"/>
                <a:gd name="T45" fmla="*/ 32 h 1382"/>
                <a:gd name="T46" fmla="*/ 143 w 1600"/>
                <a:gd name="T47" fmla="*/ 31 h 1382"/>
                <a:gd name="T48" fmla="*/ 145 w 1600"/>
                <a:gd name="T49" fmla="*/ 27 h 1382"/>
                <a:gd name="T50" fmla="*/ 145 w 1600"/>
                <a:gd name="T51" fmla="*/ 26 h 1382"/>
                <a:gd name="T52" fmla="*/ 148 w 1600"/>
                <a:gd name="T53" fmla="*/ 24 h 1382"/>
                <a:gd name="T54" fmla="*/ 154 w 1600"/>
                <a:gd name="T55" fmla="*/ 20 h 1382"/>
                <a:gd name="T56" fmla="*/ 160 w 1600"/>
                <a:gd name="T57" fmla="*/ 14 h 1382"/>
                <a:gd name="T58" fmla="*/ 160 w 1600"/>
                <a:gd name="T59" fmla="*/ 13 h 1382"/>
                <a:gd name="T60" fmla="*/ 160 w 1600"/>
                <a:gd name="T61" fmla="*/ 10 h 1382"/>
                <a:gd name="T62" fmla="*/ 160 w 1600"/>
                <a:gd name="T63" fmla="*/ 9 h 1382"/>
                <a:gd name="T64" fmla="*/ 159 w 1600"/>
                <a:gd name="T65" fmla="*/ 8 h 1382"/>
                <a:gd name="T66" fmla="*/ 158 w 1600"/>
                <a:gd name="T67" fmla="*/ 6 h 1382"/>
                <a:gd name="T68" fmla="*/ 156 w 1600"/>
                <a:gd name="T69" fmla="*/ 5 h 1382"/>
                <a:gd name="T70" fmla="*/ 155 w 1600"/>
                <a:gd name="T71" fmla="*/ 3 h 1382"/>
                <a:gd name="T72" fmla="*/ 153 w 1600"/>
                <a:gd name="T73" fmla="*/ 3 h 1382"/>
                <a:gd name="T74" fmla="*/ 151 w 1600"/>
                <a:gd name="T75" fmla="*/ 2 h 1382"/>
                <a:gd name="T76" fmla="*/ 148 w 1600"/>
                <a:gd name="T77" fmla="*/ 1 h 1382"/>
                <a:gd name="T78" fmla="*/ 88 w 1600"/>
                <a:gd name="T79" fmla="*/ 1 h 1382"/>
                <a:gd name="T80" fmla="*/ 58 w 1600"/>
                <a:gd name="T81" fmla="*/ 66 h 1382"/>
                <a:gd name="T82" fmla="*/ 66 w 1600"/>
                <a:gd name="T83" fmla="*/ 71 h 1382"/>
                <a:gd name="T84" fmla="*/ 84 w 1600"/>
                <a:gd name="T85" fmla="*/ 64 h 1382"/>
                <a:gd name="T86" fmla="*/ 93 w 1600"/>
                <a:gd name="T87" fmla="*/ 69 h 1382"/>
                <a:gd name="T88" fmla="*/ 95 w 1600"/>
                <a:gd name="T89" fmla="*/ 89 h 1382"/>
                <a:gd name="T90" fmla="*/ 84 w 1600"/>
                <a:gd name="T91" fmla="*/ 110 h 1382"/>
                <a:gd name="T92" fmla="*/ 65 w 1600"/>
                <a:gd name="T93" fmla="*/ 123 h 1382"/>
                <a:gd name="T94" fmla="*/ 54 w 1600"/>
                <a:gd name="T95" fmla="*/ 118 h 1382"/>
                <a:gd name="T96" fmla="*/ 51 w 1600"/>
                <a:gd name="T97" fmla="*/ 100 h 1382"/>
                <a:gd name="T98" fmla="*/ 45 w 1600"/>
                <a:gd name="T99" fmla="*/ 93 h 1382"/>
                <a:gd name="T100" fmla="*/ 1 w 1600"/>
                <a:gd name="T101" fmla="*/ 152 h 1382"/>
                <a:gd name="T102" fmla="*/ 32 w 1600"/>
                <a:gd name="T103" fmla="*/ 205 h 1382"/>
                <a:gd name="T104" fmla="*/ 44 w 1600"/>
                <a:gd name="T105" fmla="*/ 210 h 1382"/>
                <a:gd name="T106" fmla="*/ 50 w 1600"/>
                <a:gd name="T107" fmla="*/ 204 h 1382"/>
                <a:gd name="T108" fmla="*/ 53 w 1600"/>
                <a:gd name="T109" fmla="*/ 186 h 1382"/>
                <a:gd name="T110" fmla="*/ 63 w 1600"/>
                <a:gd name="T111" fmla="*/ 181 h 1382"/>
                <a:gd name="T112" fmla="*/ 82 w 1600"/>
                <a:gd name="T113" fmla="*/ 190 h 1382"/>
                <a:gd name="T114" fmla="*/ 93 w 1600"/>
                <a:gd name="T115" fmla="*/ 209 h 1382"/>
                <a:gd name="T116" fmla="*/ 95 w 1600"/>
                <a:gd name="T117" fmla="*/ 232 h 1382"/>
                <a:gd name="T118" fmla="*/ 83 w 1600"/>
                <a:gd name="T119" fmla="*/ 239 h 1382"/>
                <a:gd name="T120" fmla="*/ 68 w 1600"/>
                <a:gd name="T121" fmla="*/ 233 h 1382"/>
                <a:gd name="T122" fmla="*/ 58 w 1600"/>
                <a:gd name="T123" fmla="*/ 236 h 1382"/>
                <a:gd name="T124" fmla="*/ 88 w 1600"/>
                <a:gd name="T125" fmla="*/ 305 h 13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600" h="1382">
                  <a:moveTo>
                    <a:pt x="1200" y="2"/>
                  </a:moveTo>
                  <a:lnTo>
                    <a:pt x="912" y="2"/>
                  </a:lnTo>
                  <a:lnTo>
                    <a:pt x="908" y="4"/>
                  </a:lnTo>
                  <a:lnTo>
                    <a:pt x="906" y="4"/>
                  </a:lnTo>
                  <a:lnTo>
                    <a:pt x="894" y="8"/>
                  </a:lnTo>
                  <a:lnTo>
                    <a:pt x="892" y="10"/>
                  </a:lnTo>
                  <a:lnTo>
                    <a:pt x="890" y="10"/>
                  </a:lnTo>
                  <a:lnTo>
                    <a:pt x="886" y="12"/>
                  </a:lnTo>
                  <a:lnTo>
                    <a:pt x="884" y="14"/>
                  </a:lnTo>
                  <a:lnTo>
                    <a:pt x="882" y="14"/>
                  </a:lnTo>
                  <a:lnTo>
                    <a:pt x="880" y="16"/>
                  </a:lnTo>
                  <a:lnTo>
                    <a:pt x="876" y="18"/>
                  </a:lnTo>
                  <a:lnTo>
                    <a:pt x="874" y="18"/>
                  </a:lnTo>
                  <a:lnTo>
                    <a:pt x="870" y="22"/>
                  </a:lnTo>
                  <a:lnTo>
                    <a:pt x="866" y="26"/>
                  </a:lnTo>
                  <a:lnTo>
                    <a:pt x="864" y="26"/>
                  </a:lnTo>
                  <a:lnTo>
                    <a:pt x="862" y="28"/>
                  </a:lnTo>
                  <a:lnTo>
                    <a:pt x="862" y="30"/>
                  </a:lnTo>
                  <a:lnTo>
                    <a:pt x="860" y="32"/>
                  </a:lnTo>
                  <a:lnTo>
                    <a:pt x="858" y="34"/>
                  </a:lnTo>
                  <a:lnTo>
                    <a:pt x="856" y="36"/>
                  </a:lnTo>
                  <a:lnTo>
                    <a:pt x="856" y="38"/>
                  </a:lnTo>
                  <a:lnTo>
                    <a:pt x="856" y="40"/>
                  </a:lnTo>
                  <a:lnTo>
                    <a:pt x="854" y="42"/>
                  </a:lnTo>
                  <a:lnTo>
                    <a:pt x="854" y="46"/>
                  </a:lnTo>
                  <a:lnTo>
                    <a:pt x="854" y="52"/>
                  </a:lnTo>
                  <a:lnTo>
                    <a:pt x="854" y="54"/>
                  </a:lnTo>
                  <a:lnTo>
                    <a:pt x="856" y="58"/>
                  </a:lnTo>
                  <a:lnTo>
                    <a:pt x="856" y="60"/>
                  </a:lnTo>
                  <a:lnTo>
                    <a:pt x="856" y="64"/>
                  </a:lnTo>
                  <a:lnTo>
                    <a:pt x="858" y="70"/>
                  </a:lnTo>
                  <a:lnTo>
                    <a:pt x="862" y="76"/>
                  </a:lnTo>
                  <a:lnTo>
                    <a:pt x="866" y="82"/>
                  </a:lnTo>
                  <a:lnTo>
                    <a:pt x="878" y="92"/>
                  </a:lnTo>
                  <a:lnTo>
                    <a:pt x="890" y="100"/>
                  </a:lnTo>
                  <a:lnTo>
                    <a:pt x="904" y="108"/>
                  </a:lnTo>
                  <a:lnTo>
                    <a:pt x="906" y="110"/>
                  </a:lnTo>
                  <a:lnTo>
                    <a:pt x="908" y="110"/>
                  </a:lnTo>
                  <a:lnTo>
                    <a:pt x="912" y="114"/>
                  </a:lnTo>
                  <a:lnTo>
                    <a:pt x="914" y="114"/>
                  </a:lnTo>
                  <a:lnTo>
                    <a:pt x="918" y="118"/>
                  </a:lnTo>
                  <a:lnTo>
                    <a:pt x="920" y="120"/>
                  </a:lnTo>
                  <a:lnTo>
                    <a:pt x="924" y="124"/>
                  </a:lnTo>
                  <a:lnTo>
                    <a:pt x="928" y="130"/>
                  </a:lnTo>
                  <a:lnTo>
                    <a:pt x="930" y="138"/>
                  </a:lnTo>
                  <a:lnTo>
                    <a:pt x="932" y="138"/>
                  </a:lnTo>
                  <a:lnTo>
                    <a:pt x="934" y="146"/>
                  </a:lnTo>
                  <a:lnTo>
                    <a:pt x="934" y="148"/>
                  </a:lnTo>
                  <a:lnTo>
                    <a:pt x="934" y="156"/>
                  </a:lnTo>
                  <a:lnTo>
                    <a:pt x="934" y="168"/>
                  </a:lnTo>
                  <a:lnTo>
                    <a:pt x="930" y="178"/>
                  </a:lnTo>
                  <a:lnTo>
                    <a:pt x="926" y="188"/>
                  </a:lnTo>
                  <a:lnTo>
                    <a:pt x="918" y="196"/>
                  </a:lnTo>
                  <a:lnTo>
                    <a:pt x="910" y="204"/>
                  </a:lnTo>
                  <a:lnTo>
                    <a:pt x="902" y="210"/>
                  </a:lnTo>
                  <a:lnTo>
                    <a:pt x="880" y="222"/>
                  </a:lnTo>
                  <a:lnTo>
                    <a:pt x="856" y="230"/>
                  </a:lnTo>
                  <a:lnTo>
                    <a:pt x="832" y="236"/>
                  </a:lnTo>
                  <a:lnTo>
                    <a:pt x="810" y="240"/>
                  </a:lnTo>
                  <a:lnTo>
                    <a:pt x="790" y="240"/>
                  </a:lnTo>
                  <a:lnTo>
                    <a:pt x="770" y="240"/>
                  </a:lnTo>
                  <a:lnTo>
                    <a:pt x="748" y="236"/>
                  </a:lnTo>
                  <a:lnTo>
                    <a:pt x="724" y="230"/>
                  </a:lnTo>
                  <a:lnTo>
                    <a:pt x="700" y="222"/>
                  </a:lnTo>
                  <a:lnTo>
                    <a:pt x="680" y="210"/>
                  </a:lnTo>
                  <a:lnTo>
                    <a:pt x="670" y="204"/>
                  </a:lnTo>
                  <a:lnTo>
                    <a:pt x="662" y="196"/>
                  </a:lnTo>
                  <a:lnTo>
                    <a:pt x="656" y="188"/>
                  </a:lnTo>
                  <a:lnTo>
                    <a:pt x="650" y="178"/>
                  </a:lnTo>
                  <a:lnTo>
                    <a:pt x="648" y="168"/>
                  </a:lnTo>
                  <a:lnTo>
                    <a:pt x="646" y="156"/>
                  </a:lnTo>
                  <a:lnTo>
                    <a:pt x="648" y="148"/>
                  </a:lnTo>
                  <a:lnTo>
                    <a:pt x="648" y="146"/>
                  </a:lnTo>
                  <a:lnTo>
                    <a:pt x="650" y="138"/>
                  </a:lnTo>
                  <a:lnTo>
                    <a:pt x="652" y="130"/>
                  </a:lnTo>
                  <a:lnTo>
                    <a:pt x="656" y="124"/>
                  </a:lnTo>
                  <a:lnTo>
                    <a:pt x="660" y="120"/>
                  </a:lnTo>
                  <a:lnTo>
                    <a:pt x="662" y="118"/>
                  </a:lnTo>
                  <a:lnTo>
                    <a:pt x="666" y="114"/>
                  </a:lnTo>
                  <a:lnTo>
                    <a:pt x="668" y="114"/>
                  </a:lnTo>
                  <a:lnTo>
                    <a:pt x="672" y="110"/>
                  </a:lnTo>
                  <a:lnTo>
                    <a:pt x="674" y="110"/>
                  </a:lnTo>
                  <a:lnTo>
                    <a:pt x="676" y="108"/>
                  </a:lnTo>
                  <a:lnTo>
                    <a:pt x="690" y="100"/>
                  </a:lnTo>
                  <a:lnTo>
                    <a:pt x="702" y="92"/>
                  </a:lnTo>
                  <a:lnTo>
                    <a:pt x="714" y="82"/>
                  </a:lnTo>
                  <a:lnTo>
                    <a:pt x="718" y="76"/>
                  </a:lnTo>
                  <a:lnTo>
                    <a:pt x="722" y="70"/>
                  </a:lnTo>
                  <a:lnTo>
                    <a:pt x="724" y="64"/>
                  </a:lnTo>
                  <a:lnTo>
                    <a:pt x="724" y="60"/>
                  </a:lnTo>
                  <a:lnTo>
                    <a:pt x="726" y="58"/>
                  </a:lnTo>
                  <a:lnTo>
                    <a:pt x="726" y="54"/>
                  </a:lnTo>
                  <a:lnTo>
                    <a:pt x="726" y="52"/>
                  </a:lnTo>
                  <a:lnTo>
                    <a:pt x="726" y="46"/>
                  </a:lnTo>
                  <a:lnTo>
                    <a:pt x="726" y="42"/>
                  </a:lnTo>
                  <a:lnTo>
                    <a:pt x="726" y="40"/>
                  </a:lnTo>
                  <a:lnTo>
                    <a:pt x="724" y="38"/>
                  </a:lnTo>
                  <a:lnTo>
                    <a:pt x="724" y="36"/>
                  </a:lnTo>
                  <a:lnTo>
                    <a:pt x="722" y="34"/>
                  </a:lnTo>
                  <a:lnTo>
                    <a:pt x="722" y="32"/>
                  </a:lnTo>
                  <a:lnTo>
                    <a:pt x="720" y="30"/>
                  </a:lnTo>
                  <a:lnTo>
                    <a:pt x="718" y="28"/>
                  </a:lnTo>
                  <a:lnTo>
                    <a:pt x="716" y="26"/>
                  </a:lnTo>
                  <a:lnTo>
                    <a:pt x="714" y="26"/>
                  </a:lnTo>
                  <a:lnTo>
                    <a:pt x="710" y="22"/>
                  </a:lnTo>
                  <a:lnTo>
                    <a:pt x="706" y="18"/>
                  </a:lnTo>
                  <a:lnTo>
                    <a:pt x="704" y="18"/>
                  </a:lnTo>
                  <a:lnTo>
                    <a:pt x="702" y="16"/>
                  </a:lnTo>
                  <a:lnTo>
                    <a:pt x="700" y="14"/>
                  </a:lnTo>
                  <a:lnTo>
                    <a:pt x="696" y="14"/>
                  </a:lnTo>
                  <a:lnTo>
                    <a:pt x="694" y="12"/>
                  </a:lnTo>
                  <a:lnTo>
                    <a:pt x="692" y="10"/>
                  </a:lnTo>
                  <a:lnTo>
                    <a:pt x="688" y="10"/>
                  </a:lnTo>
                  <a:lnTo>
                    <a:pt x="686" y="8"/>
                  </a:lnTo>
                  <a:lnTo>
                    <a:pt x="674" y="4"/>
                  </a:lnTo>
                  <a:lnTo>
                    <a:pt x="668" y="2"/>
                  </a:lnTo>
                  <a:lnTo>
                    <a:pt x="402" y="2"/>
                  </a:lnTo>
                  <a:lnTo>
                    <a:pt x="264" y="238"/>
                  </a:lnTo>
                  <a:lnTo>
                    <a:pt x="260" y="260"/>
                  </a:lnTo>
                  <a:lnTo>
                    <a:pt x="260" y="282"/>
                  </a:lnTo>
                  <a:lnTo>
                    <a:pt x="260" y="292"/>
                  </a:lnTo>
                  <a:lnTo>
                    <a:pt x="262" y="300"/>
                  </a:lnTo>
                  <a:lnTo>
                    <a:pt x="268" y="308"/>
                  </a:lnTo>
                  <a:lnTo>
                    <a:pt x="274" y="314"/>
                  </a:lnTo>
                  <a:lnTo>
                    <a:pt x="284" y="318"/>
                  </a:lnTo>
                  <a:lnTo>
                    <a:pt x="294" y="322"/>
                  </a:lnTo>
                  <a:lnTo>
                    <a:pt x="302" y="322"/>
                  </a:lnTo>
                  <a:lnTo>
                    <a:pt x="312" y="322"/>
                  </a:lnTo>
                  <a:lnTo>
                    <a:pt x="326" y="316"/>
                  </a:lnTo>
                  <a:lnTo>
                    <a:pt x="342" y="308"/>
                  </a:lnTo>
                  <a:lnTo>
                    <a:pt x="356" y="298"/>
                  </a:lnTo>
                  <a:lnTo>
                    <a:pt x="372" y="292"/>
                  </a:lnTo>
                  <a:lnTo>
                    <a:pt x="380" y="292"/>
                  </a:lnTo>
                  <a:lnTo>
                    <a:pt x="388" y="292"/>
                  </a:lnTo>
                  <a:lnTo>
                    <a:pt x="398" y="294"/>
                  </a:lnTo>
                  <a:lnTo>
                    <a:pt x="408" y="300"/>
                  </a:lnTo>
                  <a:lnTo>
                    <a:pt x="418" y="306"/>
                  </a:lnTo>
                  <a:lnTo>
                    <a:pt x="424" y="314"/>
                  </a:lnTo>
                  <a:lnTo>
                    <a:pt x="430" y="322"/>
                  </a:lnTo>
                  <a:lnTo>
                    <a:pt x="434" y="332"/>
                  </a:lnTo>
                  <a:lnTo>
                    <a:pt x="438" y="344"/>
                  </a:lnTo>
                  <a:lnTo>
                    <a:pt x="438" y="354"/>
                  </a:lnTo>
                  <a:lnTo>
                    <a:pt x="438" y="380"/>
                  </a:lnTo>
                  <a:lnTo>
                    <a:pt x="434" y="404"/>
                  </a:lnTo>
                  <a:lnTo>
                    <a:pt x="426" y="428"/>
                  </a:lnTo>
                  <a:lnTo>
                    <a:pt x="418" y="448"/>
                  </a:lnTo>
                  <a:lnTo>
                    <a:pt x="410" y="466"/>
                  </a:lnTo>
                  <a:lnTo>
                    <a:pt x="398" y="482"/>
                  </a:lnTo>
                  <a:lnTo>
                    <a:pt x="384" y="500"/>
                  </a:lnTo>
                  <a:lnTo>
                    <a:pt x="368" y="518"/>
                  </a:lnTo>
                  <a:lnTo>
                    <a:pt x="348" y="534"/>
                  </a:lnTo>
                  <a:lnTo>
                    <a:pt x="328" y="548"/>
                  </a:lnTo>
                  <a:lnTo>
                    <a:pt x="318" y="552"/>
                  </a:lnTo>
                  <a:lnTo>
                    <a:pt x="306" y="554"/>
                  </a:lnTo>
                  <a:lnTo>
                    <a:pt x="296" y="556"/>
                  </a:lnTo>
                  <a:lnTo>
                    <a:pt x="284" y="556"/>
                  </a:lnTo>
                  <a:lnTo>
                    <a:pt x="274" y="554"/>
                  </a:lnTo>
                  <a:lnTo>
                    <a:pt x="264" y="548"/>
                  </a:lnTo>
                  <a:lnTo>
                    <a:pt x="256" y="542"/>
                  </a:lnTo>
                  <a:lnTo>
                    <a:pt x="248" y="534"/>
                  </a:lnTo>
                  <a:lnTo>
                    <a:pt x="244" y="528"/>
                  </a:lnTo>
                  <a:lnTo>
                    <a:pt x="240" y="520"/>
                  </a:lnTo>
                  <a:lnTo>
                    <a:pt x="238" y="504"/>
                  </a:lnTo>
                  <a:lnTo>
                    <a:pt x="238" y="486"/>
                  </a:lnTo>
                  <a:lnTo>
                    <a:pt x="238" y="470"/>
                  </a:lnTo>
                  <a:lnTo>
                    <a:pt x="234" y="454"/>
                  </a:lnTo>
                  <a:lnTo>
                    <a:pt x="232" y="446"/>
                  </a:lnTo>
                  <a:lnTo>
                    <a:pt x="226" y="438"/>
                  </a:lnTo>
                  <a:lnTo>
                    <a:pt x="218" y="430"/>
                  </a:lnTo>
                  <a:lnTo>
                    <a:pt x="210" y="424"/>
                  </a:lnTo>
                  <a:lnTo>
                    <a:pt x="202" y="422"/>
                  </a:lnTo>
                  <a:lnTo>
                    <a:pt x="194" y="422"/>
                  </a:lnTo>
                  <a:lnTo>
                    <a:pt x="184" y="424"/>
                  </a:lnTo>
                  <a:lnTo>
                    <a:pt x="174" y="428"/>
                  </a:lnTo>
                  <a:lnTo>
                    <a:pt x="156" y="440"/>
                  </a:lnTo>
                  <a:lnTo>
                    <a:pt x="140" y="454"/>
                  </a:lnTo>
                  <a:lnTo>
                    <a:pt x="4" y="690"/>
                  </a:lnTo>
                  <a:lnTo>
                    <a:pt x="0" y="690"/>
                  </a:lnTo>
                  <a:lnTo>
                    <a:pt x="2" y="694"/>
                  </a:lnTo>
                  <a:lnTo>
                    <a:pt x="4" y="694"/>
                  </a:lnTo>
                  <a:lnTo>
                    <a:pt x="132" y="918"/>
                  </a:lnTo>
                  <a:lnTo>
                    <a:pt x="146" y="930"/>
                  </a:lnTo>
                  <a:lnTo>
                    <a:pt x="160" y="942"/>
                  </a:lnTo>
                  <a:lnTo>
                    <a:pt x="176" y="950"/>
                  </a:lnTo>
                  <a:lnTo>
                    <a:pt x="184" y="954"/>
                  </a:lnTo>
                  <a:lnTo>
                    <a:pt x="192" y="954"/>
                  </a:lnTo>
                  <a:lnTo>
                    <a:pt x="198" y="954"/>
                  </a:lnTo>
                  <a:lnTo>
                    <a:pt x="202" y="952"/>
                  </a:lnTo>
                  <a:lnTo>
                    <a:pt x="212" y="944"/>
                  </a:lnTo>
                  <a:lnTo>
                    <a:pt x="220" y="938"/>
                  </a:lnTo>
                  <a:lnTo>
                    <a:pt x="224" y="930"/>
                  </a:lnTo>
                  <a:lnTo>
                    <a:pt x="228" y="922"/>
                  </a:lnTo>
                  <a:lnTo>
                    <a:pt x="230" y="906"/>
                  </a:lnTo>
                  <a:lnTo>
                    <a:pt x="230" y="890"/>
                  </a:lnTo>
                  <a:lnTo>
                    <a:pt x="230" y="872"/>
                  </a:lnTo>
                  <a:lnTo>
                    <a:pt x="234" y="856"/>
                  </a:lnTo>
                  <a:lnTo>
                    <a:pt x="236" y="848"/>
                  </a:lnTo>
                  <a:lnTo>
                    <a:pt x="242" y="842"/>
                  </a:lnTo>
                  <a:lnTo>
                    <a:pt x="248" y="834"/>
                  </a:lnTo>
                  <a:lnTo>
                    <a:pt x="258" y="828"/>
                  </a:lnTo>
                  <a:lnTo>
                    <a:pt x="272" y="822"/>
                  </a:lnTo>
                  <a:lnTo>
                    <a:pt x="286" y="820"/>
                  </a:lnTo>
                  <a:lnTo>
                    <a:pt x="296" y="820"/>
                  </a:lnTo>
                  <a:lnTo>
                    <a:pt x="304" y="822"/>
                  </a:lnTo>
                  <a:lnTo>
                    <a:pt x="322" y="828"/>
                  </a:lnTo>
                  <a:lnTo>
                    <a:pt x="340" y="838"/>
                  </a:lnTo>
                  <a:lnTo>
                    <a:pt x="358" y="852"/>
                  </a:lnTo>
                  <a:lnTo>
                    <a:pt x="372" y="866"/>
                  </a:lnTo>
                  <a:lnTo>
                    <a:pt x="386" y="882"/>
                  </a:lnTo>
                  <a:lnTo>
                    <a:pt x="398" y="896"/>
                  </a:lnTo>
                  <a:lnTo>
                    <a:pt x="406" y="910"/>
                  </a:lnTo>
                  <a:lnTo>
                    <a:pt x="414" y="928"/>
                  </a:lnTo>
                  <a:lnTo>
                    <a:pt x="424" y="948"/>
                  </a:lnTo>
                  <a:lnTo>
                    <a:pt x="430" y="972"/>
                  </a:lnTo>
                  <a:lnTo>
                    <a:pt x="434" y="996"/>
                  </a:lnTo>
                  <a:lnTo>
                    <a:pt x="436" y="1022"/>
                  </a:lnTo>
                  <a:lnTo>
                    <a:pt x="434" y="1032"/>
                  </a:lnTo>
                  <a:lnTo>
                    <a:pt x="432" y="1044"/>
                  </a:lnTo>
                  <a:lnTo>
                    <a:pt x="428" y="1054"/>
                  </a:lnTo>
                  <a:lnTo>
                    <a:pt x="422" y="1062"/>
                  </a:lnTo>
                  <a:lnTo>
                    <a:pt x="414" y="1070"/>
                  </a:lnTo>
                  <a:lnTo>
                    <a:pt x="404" y="1076"/>
                  </a:lnTo>
                  <a:lnTo>
                    <a:pt x="390" y="1082"/>
                  </a:lnTo>
                  <a:lnTo>
                    <a:pt x="376" y="1084"/>
                  </a:lnTo>
                  <a:lnTo>
                    <a:pt x="366" y="1084"/>
                  </a:lnTo>
                  <a:lnTo>
                    <a:pt x="354" y="1080"/>
                  </a:lnTo>
                  <a:lnTo>
                    <a:pt x="336" y="1070"/>
                  </a:lnTo>
                  <a:lnTo>
                    <a:pt x="318" y="1060"/>
                  </a:lnTo>
                  <a:lnTo>
                    <a:pt x="308" y="1056"/>
                  </a:lnTo>
                  <a:lnTo>
                    <a:pt x="296" y="1054"/>
                  </a:lnTo>
                  <a:lnTo>
                    <a:pt x="284" y="1056"/>
                  </a:lnTo>
                  <a:lnTo>
                    <a:pt x="270" y="1062"/>
                  </a:lnTo>
                  <a:lnTo>
                    <a:pt x="264" y="1068"/>
                  </a:lnTo>
                  <a:lnTo>
                    <a:pt x="258" y="1076"/>
                  </a:lnTo>
                  <a:lnTo>
                    <a:pt x="256" y="1086"/>
                  </a:lnTo>
                  <a:lnTo>
                    <a:pt x="256" y="1096"/>
                  </a:lnTo>
                  <a:lnTo>
                    <a:pt x="258" y="1120"/>
                  </a:lnTo>
                  <a:lnTo>
                    <a:pt x="262" y="1142"/>
                  </a:lnTo>
                  <a:lnTo>
                    <a:pt x="402" y="1382"/>
                  </a:lnTo>
                  <a:lnTo>
                    <a:pt x="1200" y="1382"/>
                  </a:lnTo>
                  <a:lnTo>
                    <a:pt x="1600" y="690"/>
                  </a:lnTo>
                  <a:lnTo>
                    <a:pt x="1200" y="0"/>
                  </a:lnTo>
                  <a:lnTo>
                    <a:pt x="1200" y="2"/>
                  </a:lnTo>
                  <a:close/>
                </a:path>
              </a:pathLst>
            </a:custGeom>
            <a:solidFill>
              <a:schemeClr val="bg2"/>
            </a:solidFill>
            <a:ln w="38100" cap="flat" cmpd="sng">
              <a:solidFill>
                <a:srgbClr val="5F5F5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E"/>
            </a:p>
          </p:txBody>
        </p:sp>
        <p:sp>
          <p:nvSpPr>
            <p:cNvPr id="29713" name="Text Box 12"/>
            <p:cNvSpPr txBox="1">
              <a:spLocks noChangeArrowheads="1"/>
            </p:cNvSpPr>
            <p:nvPr/>
          </p:nvSpPr>
          <p:spPr bwMode="auto">
            <a:xfrm>
              <a:off x="3805" y="3123"/>
              <a:ext cx="785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5F5F5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GB" b="1">
                  <a:solidFill>
                    <a:srgbClr val="000000"/>
                  </a:solidFill>
                  <a:cs typeface="Arial" charset="0"/>
                </a:rPr>
                <a:t>Hospital</a:t>
              </a:r>
            </a:p>
          </p:txBody>
        </p:sp>
      </p:grpSp>
      <p:grpSp>
        <p:nvGrpSpPr>
          <p:cNvPr id="29703" name="Group 13"/>
          <p:cNvGrpSpPr>
            <a:grpSpLocks/>
          </p:cNvGrpSpPr>
          <p:nvPr/>
        </p:nvGrpSpPr>
        <p:grpSpPr bwMode="auto">
          <a:xfrm>
            <a:off x="3938588" y="4294188"/>
            <a:ext cx="1774825" cy="1508125"/>
            <a:chOff x="2428" y="3297"/>
            <a:chExt cx="1118" cy="950"/>
          </a:xfrm>
        </p:grpSpPr>
        <p:sp>
          <p:nvSpPr>
            <p:cNvPr id="29710" name="Freeform 14"/>
            <p:cNvSpPr>
              <a:spLocks/>
            </p:cNvSpPr>
            <p:nvPr/>
          </p:nvSpPr>
          <p:spPr bwMode="auto">
            <a:xfrm>
              <a:off x="2428" y="3297"/>
              <a:ext cx="1118" cy="950"/>
            </a:xfrm>
            <a:custGeom>
              <a:avLst/>
              <a:gdLst>
                <a:gd name="T0" fmla="*/ 352 w 1632"/>
                <a:gd name="T1" fmla="*/ 84 h 1386"/>
                <a:gd name="T2" fmla="*/ 358 w 1632"/>
                <a:gd name="T3" fmla="*/ 80 h 1386"/>
                <a:gd name="T4" fmla="*/ 360 w 1632"/>
                <a:gd name="T5" fmla="*/ 66 h 1386"/>
                <a:gd name="T6" fmla="*/ 352 w 1632"/>
                <a:gd name="T7" fmla="*/ 47 h 1386"/>
                <a:gd name="T8" fmla="*/ 346 w 1632"/>
                <a:gd name="T9" fmla="*/ 38 h 1386"/>
                <a:gd name="T10" fmla="*/ 332 w 1632"/>
                <a:gd name="T11" fmla="*/ 28 h 1386"/>
                <a:gd name="T12" fmla="*/ 325 w 1632"/>
                <a:gd name="T13" fmla="*/ 28 h 1386"/>
                <a:gd name="T14" fmla="*/ 318 w 1632"/>
                <a:gd name="T15" fmla="*/ 32 h 1386"/>
                <a:gd name="T16" fmla="*/ 316 w 1632"/>
                <a:gd name="T17" fmla="*/ 43 h 1386"/>
                <a:gd name="T18" fmla="*/ 313 w 1632"/>
                <a:gd name="T19" fmla="*/ 53 h 1386"/>
                <a:gd name="T20" fmla="*/ 308 w 1632"/>
                <a:gd name="T21" fmla="*/ 58 h 1386"/>
                <a:gd name="T22" fmla="*/ 303 w 1632"/>
                <a:gd name="T23" fmla="*/ 57 h 1386"/>
                <a:gd name="T24" fmla="*/ 264 w 1632"/>
                <a:gd name="T25" fmla="*/ 0 h 1386"/>
                <a:gd name="T26" fmla="*/ 196 w 1632"/>
                <a:gd name="T27" fmla="*/ 3 h 1386"/>
                <a:gd name="T28" fmla="*/ 190 w 1632"/>
                <a:gd name="T29" fmla="*/ 11 h 1386"/>
                <a:gd name="T30" fmla="*/ 192 w 1632"/>
                <a:gd name="T31" fmla="*/ 17 h 1386"/>
                <a:gd name="T32" fmla="*/ 202 w 1632"/>
                <a:gd name="T33" fmla="*/ 25 h 1386"/>
                <a:gd name="T34" fmla="*/ 208 w 1632"/>
                <a:gd name="T35" fmla="*/ 32 h 1386"/>
                <a:gd name="T36" fmla="*/ 207 w 1632"/>
                <a:gd name="T37" fmla="*/ 40 h 1386"/>
                <a:gd name="T38" fmla="*/ 201 w 1632"/>
                <a:gd name="T39" fmla="*/ 47 h 1386"/>
                <a:gd name="T40" fmla="*/ 181 w 1632"/>
                <a:gd name="T41" fmla="*/ 53 h 1386"/>
                <a:gd name="T42" fmla="*/ 167 w 1632"/>
                <a:gd name="T43" fmla="*/ 53 h 1386"/>
                <a:gd name="T44" fmla="*/ 150 w 1632"/>
                <a:gd name="T45" fmla="*/ 45 h 1386"/>
                <a:gd name="T46" fmla="*/ 145 w 1632"/>
                <a:gd name="T47" fmla="*/ 38 h 1386"/>
                <a:gd name="T48" fmla="*/ 145 w 1632"/>
                <a:gd name="T49" fmla="*/ 31 h 1386"/>
                <a:gd name="T50" fmla="*/ 153 w 1632"/>
                <a:gd name="T51" fmla="*/ 23 h 1386"/>
                <a:gd name="T52" fmla="*/ 161 w 1632"/>
                <a:gd name="T53" fmla="*/ 16 h 1386"/>
                <a:gd name="T54" fmla="*/ 162 w 1632"/>
                <a:gd name="T55" fmla="*/ 9 h 1386"/>
                <a:gd name="T56" fmla="*/ 151 w 1632"/>
                <a:gd name="T57" fmla="*/ 1 h 1386"/>
                <a:gd name="T58" fmla="*/ 54 w 1632"/>
                <a:gd name="T59" fmla="*/ 59 h 1386"/>
                <a:gd name="T60" fmla="*/ 53 w 1632"/>
                <a:gd name="T61" fmla="*/ 74 h 1386"/>
                <a:gd name="T62" fmla="*/ 58 w 1632"/>
                <a:gd name="T63" fmla="*/ 78 h 1386"/>
                <a:gd name="T64" fmla="*/ 68 w 1632"/>
                <a:gd name="T65" fmla="*/ 77 h 1386"/>
                <a:gd name="T66" fmla="*/ 79 w 1632"/>
                <a:gd name="T67" fmla="*/ 73 h 1386"/>
                <a:gd name="T68" fmla="*/ 86 w 1632"/>
                <a:gd name="T69" fmla="*/ 74 h 1386"/>
                <a:gd name="T70" fmla="*/ 92 w 1632"/>
                <a:gd name="T71" fmla="*/ 82 h 1386"/>
                <a:gd name="T72" fmla="*/ 92 w 1632"/>
                <a:gd name="T73" fmla="*/ 97 h 1386"/>
                <a:gd name="T74" fmla="*/ 86 w 1632"/>
                <a:gd name="T75" fmla="*/ 111 h 1386"/>
                <a:gd name="T76" fmla="*/ 73 w 1632"/>
                <a:gd name="T77" fmla="*/ 126 h 1386"/>
                <a:gd name="T78" fmla="*/ 60 w 1632"/>
                <a:gd name="T79" fmla="*/ 131 h 1386"/>
                <a:gd name="T80" fmla="*/ 54 w 1632"/>
                <a:gd name="T81" fmla="*/ 130 h 1386"/>
                <a:gd name="T82" fmla="*/ 49 w 1632"/>
                <a:gd name="T83" fmla="*/ 123 h 1386"/>
                <a:gd name="T84" fmla="*/ 47 w 1632"/>
                <a:gd name="T85" fmla="*/ 108 h 1386"/>
                <a:gd name="T86" fmla="*/ 42 w 1632"/>
                <a:gd name="T87" fmla="*/ 101 h 1386"/>
                <a:gd name="T88" fmla="*/ 36 w 1632"/>
                <a:gd name="T89" fmla="*/ 102 h 1386"/>
                <a:gd name="T90" fmla="*/ 1 w 1632"/>
                <a:gd name="T91" fmla="*/ 152 h 1386"/>
                <a:gd name="T92" fmla="*/ 264 w 1632"/>
                <a:gd name="T93" fmla="*/ 306 h 1386"/>
                <a:gd name="T94" fmla="*/ 321 w 1632"/>
                <a:gd name="T95" fmla="*/ 99 h 1386"/>
                <a:gd name="T96" fmla="*/ 321 w 1632"/>
                <a:gd name="T97" fmla="*/ 84 h 1386"/>
                <a:gd name="T98" fmla="*/ 326 w 1632"/>
                <a:gd name="T99" fmla="*/ 80 h 1386"/>
                <a:gd name="T100" fmla="*/ 334 w 1632"/>
                <a:gd name="T101" fmla="*/ 80 h 1386"/>
                <a:gd name="T102" fmla="*/ 347 w 1632"/>
                <a:gd name="T103" fmla="*/ 86 h 138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1632" h="1386">
                  <a:moveTo>
                    <a:pt x="1576" y="390"/>
                  </a:moveTo>
                  <a:lnTo>
                    <a:pt x="1576" y="390"/>
                  </a:lnTo>
                  <a:lnTo>
                    <a:pt x="1588" y="388"/>
                  </a:lnTo>
                  <a:lnTo>
                    <a:pt x="1602" y="382"/>
                  </a:lnTo>
                  <a:lnTo>
                    <a:pt x="1610" y="376"/>
                  </a:lnTo>
                  <a:lnTo>
                    <a:pt x="1618" y="368"/>
                  </a:lnTo>
                  <a:lnTo>
                    <a:pt x="1624" y="360"/>
                  </a:lnTo>
                  <a:lnTo>
                    <a:pt x="1628" y="350"/>
                  </a:lnTo>
                  <a:lnTo>
                    <a:pt x="1630" y="338"/>
                  </a:lnTo>
                  <a:lnTo>
                    <a:pt x="1632" y="328"/>
                  </a:lnTo>
                  <a:lnTo>
                    <a:pt x="1632" y="302"/>
                  </a:lnTo>
                  <a:lnTo>
                    <a:pt x="1626" y="278"/>
                  </a:lnTo>
                  <a:lnTo>
                    <a:pt x="1620" y="254"/>
                  </a:lnTo>
                  <a:lnTo>
                    <a:pt x="1612" y="234"/>
                  </a:lnTo>
                  <a:lnTo>
                    <a:pt x="1602" y="216"/>
                  </a:lnTo>
                  <a:lnTo>
                    <a:pt x="1594" y="202"/>
                  </a:lnTo>
                  <a:lnTo>
                    <a:pt x="1584" y="188"/>
                  </a:lnTo>
                  <a:lnTo>
                    <a:pt x="1570" y="172"/>
                  </a:lnTo>
                  <a:lnTo>
                    <a:pt x="1556" y="158"/>
                  </a:lnTo>
                  <a:lnTo>
                    <a:pt x="1540" y="146"/>
                  </a:lnTo>
                  <a:lnTo>
                    <a:pt x="1522" y="136"/>
                  </a:lnTo>
                  <a:lnTo>
                    <a:pt x="1504" y="128"/>
                  </a:lnTo>
                  <a:lnTo>
                    <a:pt x="1496" y="126"/>
                  </a:lnTo>
                  <a:lnTo>
                    <a:pt x="1486" y="126"/>
                  </a:lnTo>
                  <a:lnTo>
                    <a:pt x="1474" y="128"/>
                  </a:lnTo>
                  <a:lnTo>
                    <a:pt x="1460" y="134"/>
                  </a:lnTo>
                  <a:lnTo>
                    <a:pt x="1452" y="140"/>
                  </a:lnTo>
                  <a:lnTo>
                    <a:pt x="1444" y="148"/>
                  </a:lnTo>
                  <a:lnTo>
                    <a:pt x="1440" y="154"/>
                  </a:lnTo>
                  <a:lnTo>
                    <a:pt x="1436" y="162"/>
                  </a:lnTo>
                  <a:lnTo>
                    <a:pt x="1434" y="178"/>
                  </a:lnTo>
                  <a:lnTo>
                    <a:pt x="1434" y="196"/>
                  </a:lnTo>
                  <a:lnTo>
                    <a:pt x="1434" y="212"/>
                  </a:lnTo>
                  <a:lnTo>
                    <a:pt x="1432" y="228"/>
                  </a:lnTo>
                  <a:lnTo>
                    <a:pt x="1428" y="236"/>
                  </a:lnTo>
                  <a:lnTo>
                    <a:pt x="1422" y="244"/>
                  </a:lnTo>
                  <a:lnTo>
                    <a:pt x="1416" y="250"/>
                  </a:lnTo>
                  <a:lnTo>
                    <a:pt x="1406" y="258"/>
                  </a:lnTo>
                  <a:lnTo>
                    <a:pt x="1400" y="260"/>
                  </a:lnTo>
                  <a:lnTo>
                    <a:pt x="1392" y="260"/>
                  </a:lnTo>
                  <a:lnTo>
                    <a:pt x="1384" y="260"/>
                  </a:lnTo>
                  <a:lnTo>
                    <a:pt x="1376" y="258"/>
                  </a:lnTo>
                  <a:lnTo>
                    <a:pt x="1360" y="248"/>
                  </a:lnTo>
                  <a:lnTo>
                    <a:pt x="1344" y="236"/>
                  </a:lnTo>
                  <a:lnTo>
                    <a:pt x="1330" y="224"/>
                  </a:lnTo>
                  <a:lnTo>
                    <a:pt x="1200" y="0"/>
                  </a:lnTo>
                  <a:lnTo>
                    <a:pt x="936" y="0"/>
                  </a:lnTo>
                  <a:lnTo>
                    <a:pt x="914" y="8"/>
                  </a:lnTo>
                  <a:lnTo>
                    <a:pt x="890" y="18"/>
                  </a:lnTo>
                  <a:lnTo>
                    <a:pt x="880" y="24"/>
                  </a:lnTo>
                  <a:lnTo>
                    <a:pt x="872" y="32"/>
                  </a:lnTo>
                  <a:lnTo>
                    <a:pt x="866" y="40"/>
                  </a:lnTo>
                  <a:lnTo>
                    <a:pt x="864" y="48"/>
                  </a:lnTo>
                  <a:lnTo>
                    <a:pt x="866" y="60"/>
                  </a:lnTo>
                  <a:lnTo>
                    <a:pt x="868" y="70"/>
                  </a:lnTo>
                  <a:lnTo>
                    <a:pt x="872" y="78"/>
                  </a:lnTo>
                  <a:lnTo>
                    <a:pt x="876" y="84"/>
                  </a:lnTo>
                  <a:lnTo>
                    <a:pt x="890" y="96"/>
                  </a:lnTo>
                  <a:lnTo>
                    <a:pt x="904" y="104"/>
                  </a:lnTo>
                  <a:lnTo>
                    <a:pt x="918" y="112"/>
                  </a:lnTo>
                  <a:lnTo>
                    <a:pt x="932" y="122"/>
                  </a:lnTo>
                  <a:lnTo>
                    <a:pt x="936" y="130"/>
                  </a:lnTo>
                  <a:lnTo>
                    <a:pt x="940" y="138"/>
                  </a:lnTo>
                  <a:lnTo>
                    <a:pt x="944" y="146"/>
                  </a:lnTo>
                  <a:lnTo>
                    <a:pt x="944" y="158"/>
                  </a:lnTo>
                  <a:lnTo>
                    <a:pt x="944" y="170"/>
                  </a:lnTo>
                  <a:lnTo>
                    <a:pt x="940" y="180"/>
                  </a:lnTo>
                  <a:lnTo>
                    <a:pt x="936" y="190"/>
                  </a:lnTo>
                  <a:lnTo>
                    <a:pt x="928" y="198"/>
                  </a:lnTo>
                  <a:lnTo>
                    <a:pt x="920" y="206"/>
                  </a:lnTo>
                  <a:lnTo>
                    <a:pt x="912" y="212"/>
                  </a:lnTo>
                  <a:lnTo>
                    <a:pt x="890" y="224"/>
                  </a:lnTo>
                  <a:lnTo>
                    <a:pt x="866" y="232"/>
                  </a:lnTo>
                  <a:lnTo>
                    <a:pt x="842" y="238"/>
                  </a:lnTo>
                  <a:lnTo>
                    <a:pt x="820" y="242"/>
                  </a:lnTo>
                  <a:lnTo>
                    <a:pt x="800" y="242"/>
                  </a:lnTo>
                  <a:lnTo>
                    <a:pt x="782" y="242"/>
                  </a:lnTo>
                  <a:lnTo>
                    <a:pt x="758" y="238"/>
                  </a:lnTo>
                  <a:lnTo>
                    <a:pt x="734" y="232"/>
                  </a:lnTo>
                  <a:lnTo>
                    <a:pt x="710" y="224"/>
                  </a:lnTo>
                  <a:lnTo>
                    <a:pt x="690" y="212"/>
                  </a:lnTo>
                  <a:lnTo>
                    <a:pt x="680" y="206"/>
                  </a:lnTo>
                  <a:lnTo>
                    <a:pt x="672" y="198"/>
                  </a:lnTo>
                  <a:lnTo>
                    <a:pt x="666" y="190"/>
                  </a:lnTo>
                  <a:lnTo>
                    <a:pt x="660" y="180"/>
                  </a:lnTo>
                  <a:lnTo>
                    <a:pt x="658" y="170"/>
                  </a:lnTo>
                  <a:lnTo>
                    <a:pt x="656" y="158"/>
                  </a:lnTo>
                  <a:lnTo>
                    <a:pt x="658" y="146"/>
                  </a:lnTo>
                  <a:lnTo>
                    <a:pt x="660" y="138"/>
                  </a:lnTo>
                  <a:lnTo>
                    <a:pt x="664" y="130"/>
                  </a:lnTo>
                  <a:lnTo>
                    <a:pt x="670" y="122"/>
                  </a:lnTo>
                  <a:lnTo>
                    <a:pt x="682" y="112"/>
                  </a:lnTo>
                  <a:lnTo>
                    <a:pt x="696" y="104"/>
                  </a:lnTo>
                  <a:lnTo>
                    <a:pt x="712" y="96"/>
                  </a:lnTo>
                  <a:lnTo>
                    <a:pt x="724" y="84"/>
                  </a:lnTo>
                  <a:lnTo>
                    <a:pt x="730" y="78"/>
                  </a:lnTo>
                  <a:lnTo>
                    <a:pt x="732" y="70"/>
                  </a:lnTo>
                  <a:lnTo>
                    <a:pt x="736" y="60"/>
                  </a:lnTo>
                  <a:lnTo>
                    <a:pt x="736" y="48"/>
                  </a:lnTo>
                  <a:lnTo>
                    <a:pt x="734" y="40"/>
                  </a:lnTo>
                  <a:lnTo>
                    <a:pt x="728" y="32"/>
                  </a:lnTo>
                  <a:lnTo>
                    <a:pt x="720" y="24"/>
                  </a:lnTo>
                  <a:lnTo>
                    <a:pt x="710" y="18"/>
                  </a:lnTo>
                  <a:lnTo>
                    <a:pt x="688" y="8"/>
                  </a:lnTo>
                  <a:lnTo>
                    <a:pt x="666" y="0"/>
                  </a:lnTo>
                  <a:lnTo>
                    <a:pt x="402" y="0"/>
                  </a:lnTo>
                  <a:lnTo>
                    <a:pt x="248" y="268"/>
                  </a:lnTo>
                  <a:lnTo>
                    <a:pt x="242" y="290"/>
                  </a:lnTo>
                  <a:lnTo>
                    <a:pt x="240" y="314"/>
                  </a:lnTo>
                  <a:lnTo>
                    <a:pt x="240" y="326"/>
                  </a:lnTo>
                  <a:lnTo>
                    <a:pt x="242" y="336"/>
                  </a:lnTo>
                  <a:lnTo>
                    <a:pt x="248" y="344"/>
                  </a:lnTo>
                  <a:lnTo>
                    <a:pt x="254" y="350"/>
                  </a:lnTo>
                  <a:lnTo>
                    <a:pt x="264" y="356"/>
                  </a:lnTo>
                  <a:lnTo>
                    <a:pt x="274" y="358"/>
                  </a:lnTo>
                  <a:lnTo>
                    <a:pt x="284" y="358"/>
                  </a:lnTo>
                  <a:lnTo>
                    <a:pt x="292" y="358"/>
                  </a:lnTo>
                  <a:lnTo>
                    <a:pt x="308" y="352"/>
                  </a:lnTo>
                  <a:lnTo>
                    <a:pt x="322" y="344"/>
                  </a:lnTo>
                  <a:lnTo>
                    <a:pt x="336" y="336"/>
                  </a:lnTo>
                  <a:lnTo>
                    <a:pt x="352" y="330"/>
                  </a:lnTo>
                  <a:lnTo>
                    <a:pt x="360" y="328"/>
                  </a:lnTo>
                  <a:lnTo>
                    <a:pt x="370" y="328"/>
                  </a:lnTo>
                  <a:lnTo>
                    <a:pt x="378" y="332"/>
                  </a:lnTo>
                  <a:lnTo>
                    <a:pt x="390" y="336"/>
                  </a:lnTo>
                  <a:lnTo>
                    <a:pt x="398" y="342"/>
                  </a:lnTo>
                  <a:lnTo>
                    <a:pt x="406" y="350"/>
                  </a:lnTo>
                  <a:lnTo>
                    <a:pt x="412" y="358"/>
                  </a:lnTo>
                  <a:lnTo>
                    <a:pt x="416" y="368"/>
                  </a:lnTo>
                  <a:lnTo>
                    <a:pt x="418" y="380"/>
                  </a:lnTo>
                  <a:lnTo>
                    <a:pt x="420" y="392"/>
                  </a:lnTo>
                  <a:lnTo>
                    <a:pt x="418" y="416"/>
                  </a:lnTo>
                  <a:lnTo>
                    <a:pt x="414" y="440"/>
                  </a:lnTo>
                  <a:lnTo>
                    <a:pt x="408" y="464"/>
                  </a:lnTo>
                  <a:lnTo>
                    <a:pt x="400" y="486"/>
                  </a:lnTo>
                  <a:lnTo>
                    <a:pt x="390" y="502"/>
                  </a:lnTo>
                  <a:lnTo>
                    <a:pt x="380" y="518"/>
                  </a:lnTo>
                  <a:lnTo>
                    <a:pt x="366" y="536"/>
                  </a:lnTo>
                  <a:lnTo>
                    <a:pt x="348" y="554"/>
                  </a:lnTo>
                  <a:lnTo>
                    <a:pt x="330" y="570"/>
                  </a:lnTo>
                  <a:lnTo>
                    <a:pt x="308" y="584"/>
                  </a:lnTo>
                  <a:lnTo>
                    <a:pt x="298" y="588"/>
                  </a:lnTo>
                  <a:lnTo>
                    <a:pt x="288" y="592"/>
                  </a:lnTo>
                  <a:lnTo>
                    <a:pt x="276" y="592"/>
                  </a:lnTo>
                  <a:lnTo>
                    <a:pt x="266" y="592"/>
                  </a:lnTo>
                  <a:lnTo>
                    <a:pt x="256" y="590"/>
                  </a:lnTo>
                  <a:lnTo>
                    <a:pt x="246" y="586"/>
                  </a:lnTo>
                  <a:lnTo>
                    <a:pt x="236" y="578"/>
                  </a:lnTo>
                  <a:lnTo>
                    <a:pt x="230" y="572"/>
                  </a:lnTo>
                  <a:lnTo>
                    <a:pt x="224" y="564"/>
                  </a:lnTo>
                  <a:lnTo>
                    <a:pt x="222" y="556"/>
                  </a:lnTo>
                  <a:lnTo>
                    <a:pt x="218" y="540"/>
                  </a:lnTo>
                  <a:lnTo>
                    <a:pt x="218" y="522"/>
                  </a:lnTo>
                  <a:lnTo>
                    <a:pt x="218" y="506"/>
                  </a:lnTo>
                  <a:lnTo>
                    <a:pt x="216" y="490"/>
                  </a:lnTo>
                  <a:lnTo>
                    <a:pt x="212" y="482"/>
                  </a:lnTo>
                  <a:lnTo>
                    <a:pt x="206" y="474"/>
                  </a:lnTo>
                  <a:lnTo>
                    <a:pt x="200" y="468"/>
                  </a:lnTo>
                  <a:lnTo>
                    <a:pt x="190" y="460"/>
                  </a:lnTo>
                  <a:lnTo>
                    <a:pt x="182" y="458"/>
                  </a:lnTo>
                  <a:lnTo>
                    <a:pt x="172" y="458"/>
                  </a:lnTo>
                  <a:lnTo>
                    <a:pt x="162" y="462"/>
                  </a:lnTo>
                  <a:lnTo>
                    <a:pt x="152" y="466"/>
                  </a:lnTo>
                  <a:lnTo>
                    <a:pt x="132" y="480"/>
                  </a:lnTo>
                  <a:lnTo>
                    <a:pt x="116" y="496"/>
                  </a:lnTo>
                  <a:lnTo>
                    <a:pt x="4" y="688"/>
                  </a:lnTo>
                  <a:lnTo>
                    <a:pt x="2" y="688"/>
                  </a:lnTo>
                  <a:lnTo>
                    <a:pt x="0" y="694"/>
                  </a:lnTo>
                  <a:lnTo>
                    <a:pt x="400" y="1386"/>
                  </a:lnTo>
                  <a:lnTo>
                    <a:pt x="1200" y="1386"/>
                  </a:lnTo>
                  <a:lnTo>
                    <a:pt x="1600" y="694"/>
                  </a:lnTo>
                  <a:lnTo>
                    <a:pt x="1598" y="688"/>
                  </a:lnTo>
                  <a:lnTo>
                    <a:pt x="1458" y="448"/>
                  </a:lnTo>
                  <a:lnTo>
                    <a:pt x="1454" y="426"/>
                  </a:lnTo>
                  <a:lnTo>
                    <a:pt x="1452" y="402"/>
                  </a:lnTo>
                  <a:lnTo>
                    <a:pt x="1454" y="392"/>
                  </a:lnTo>
                  <a:lnTo>
                    <a:pt x="1456" y="382"/>
                  </a:lnTo>
                  <a:lnTo>
                    <a:pt x="1460" y="374"/>
                  </a:lnTo>
                  <a:lnTo>
                    <a:pt x="1466" y="368"/>
                  </a:lnTo>
                  <a:lnTo>
                    <a:pt x="1482" y="362"/>
                  </a:lnTo>
                  <a:lnTo>
                    <a:pt x="1496" y="360"/>
                  </a:lnTo>
                  <a:lnTo>
                    <a:pt x="1508" y="360"/>
                  </a:lnTo>
                  <a:lnTo>
                    <a:pt x="1518" y="364"/>
                  </a:lnTo>
                  <a:lnTo>
                    <a:pt x="1536" y="374"/>
                  </a:lnTo>
                  <a:lnTo>
                    <a:pt x="1556" y="384"/>
                  </a:lnTo>
                  <a:lnTo>
                    <a:pt x="1566" y="388"/>
                  </a:lnTo>
                  <a:lnTo>
                    <a:pt x="1576" y="390"/>
                  </a:lnTo>
                  <a:close/>
                </a:path>
              </a:pathLst>
            </a:custGeom>
            <a:solidFill>
              <a:srgbClr val="EF43AF"/>
            </a:solidFill>
            <a:ln w="38100" cap="flat" cmpd="sng">
              <a:solidFill>
                <a:srgbClr val="5F5F5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E"/>
            </a:p>
          </p:txBody>
        </p:sp>
        <p:sp>
          <p:nvSpPr>
            <p:cNvPr id="29711" name="Text Box 15"/>
            <p:cNvSpPr txBox="1">
              <a:spLocks noChangeArrowheads="1"/>
            </p:cNvSpPr>
            <p:nvPr/>
          </p:nvSpPr>
          <p:spPr bwMode="auto">
            <a:xfrm>
              <a:off x="2617" y="3585"/>
              <a:ext cx="785" cy="4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5F5F5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GB" b="1">
                  <a:solidFill>
                    <a:srgbClr val="000000"/>
                  </a:solidFill>
                  <a:cs typeface="Arial" charset="0"/>
                </a:rPr>
                <a:t>Patient Home</a:t>
              </a:r>
            </a:p>
          </p:txBody>
        </p:sp>
      </p:grpSp>
      <p:grpSp>
        <p:nvGrpSpPr>
          <p:cNvPr id="29704" name="Group 16"/>
          <p:cNvGrpSpPr>
            <a:grpSpLocks/>
          </p:cNvGrpSpPr>
          <p:nvPr/>
        </p:nvGrpSpPr>
        <p:grpSpPr bwMode="auto">
          <a:xfrm>
            <a:off x="2686050" y="3287713"/>
            <a:ext cx="1757363" cy="1760537"/>
            <a:chOff x="1303" y="2591"/>
            <a:chExt cx="1107" cy="1109"/>
          </a:xfrm>
        </p:grpSpPr>
        <p:sp>
          <p:nvSpPr>
            <p:cNvPr id="29708" name="Freeform 17"/>
            <p:cNvSpPr>
              <a:spLocks/>
            </p:cNvSpPr>
            <p:nvPr/>
          </p:nvSpPr>
          <p:spPr bwMode="auto">
            <a:xfrm>
              <a:off x="1303" y="2591"/>
              <a:ext cx="1107" cy="1109"/>
            </a:xfrm>
            <a:custGeom>
              <a:avLst/>
              <a:gdLst>
                <a:gd name="T0" fmla="*/ 299 w 1616"/>
                <a:gd name="T1" fmla="*/ 307 h 1618"/>
                <a:gd name="T2" fmla="*/ 308 w 1616"/>
                <a:gd name="T3" fmla="*/ 308 h 1618"/>
                <a:gd name="T4" fmla="*/ 312 w 1616"/>
                <a:gd name="T5" fmla="*/ 320 h 1618"/>
                <a:gd name="T6" fmla="*/ 315 w 1616"/>
                <a:gd name="T7" fmla="*/ 333 h 1618"/>
                <a:gd name="T8" fmla="*/ 324 w 1616"/>
                <a:gd name="T9" fmla="*/ 336 h 1618"/>
                <a:gd name="T10" fmla="*/ 340 w 1616"/>
                <a:gd name="T11" fmla="*/ 328 h 1618"/>
                <a:gd name="T12" fmla="*/ 351 w 1616"/>
                <a:gd name="T13" fmla="*/ 313 h 1618"/>
                <a:gd name="T14" fmla="*/ 356 w 1616"/>
                <a:gd name="T15" fmla="*/ 289 h 1618"/>
                <a:gd name="T16" fmla="*/ 349 w 1616"/>
                <a:gd name="T17" fmla="*/ 280 h 1618"/>
                <a:gd name="T18" fmla="*/ 340 w 1616"/>
                <a:gd name="T19" fmla="*/ 278 h 1618"/>
                <a:gd name="T20" fmla="*/ 326 w 1616"/>
                <a:gd name="T21" fmla="*/ 284 h 1618"/>
                <a:gd name="T22" fmla="*/ 318 w 1616"/>
                <a:gd name="T23" fmla="*/ 281 h 1618"/>
                <a:gd name="T24" fmla="*/ 318 w 1616"/>
                <a:gd name="T25" fmla="*/ 265 h 1618"/>
                <a:gd name="T26" fmla="*/ 322 w 1616"/>
                <a:gd name="T27" fmla="*/ 153 h 1618"/>
                <a:gd name="T28" fmla="*/ 307 w 1616"/>
                <a:gd name="T29" fmla="*/ 144 h 1618"/>
                <a:gd name="T30" fmla="*/ 300 w 1616"/>
                <a:gd name="T31" fmla="*/ 150 h 1618"/>
                <a:gd name="T32" fmla="*/ 299 w 1616"/>
                <a:gd name="T33" fmla="*/ 166 h 1618"/>
                <a:gd name="T34" fmla="*/ 293 w 1616"/>
                <a:gd name="T35" fmla="*/ 173 h 1618"/>
                <a:gd name="T36" fmla="*/ 281 w 1616"/>
                <a:gd name="T37" fmla="*/ 173 h 1618"/>
                <a:gd name="T38" fmla="*/ 263 w 1616"/>
                <a:gd name="T39" fmla="*/ 158 h 1618"/>
                <a:gd name="T40" fmla="*/ 256 w 1616"/>
                <a:gd name="T41" fmla="*/ 141 h 1618"/>
                <a:gd name="T42" fmla="*/ 256 w 1616"/>
                <a:gd name="T43" fmla="*/ 123 h 1618"/>
                <a:gd name="T44" fmla="*/ 264 w 1616"/>
                <a:gd name="T45" fmla="*/ 117 h 1618"/>
                <a:gd name="T46" fmla="*/ 276 w 1616"/>
                <a:gd name="T47" fmla="*/ 119 h 1618"/>
                <a:gd name="T48" fmla="*/ 289 w 1616"/>
                <a:gd name="T49" fmla="*/ 122 h 1618"/>
                <a:gd name="T50" fmla="*/ 295 w 1616"/>
                <a:gd name="T51" fmla="*/ 115 h 1618"/>
                <a:gd name="T52" fmla="*/ 264 w 1616"/>
                <a:gd name="T53" fmla="*/ 53 h 1618"/>
                <a:gd name="T54" fmla="*/ 199 w 1616"/>
                <a:gd name="T55" fmla="*/ 51 h 1618"/>
                <a:gd name="T56" fmla="*/ 197 w 1616"/>
                <a:gd name="T57" fmla="*/ 50 h 1618"/>
                <a:gd name="T58" fmla="*/ 196 w 1616"/>
                <a:gd name="T59" fmla="*/ 50 h 1618"/>
                <a:gd name="T60" fmla="*/ 195 w 1616"/>
                <a:gd name="T61" fmla="*/ 49 h 1618"/>
                <a:gd name="T62" fmla="*/ 194 w 1616"/>
                <a:gd name="T63" fmla="*/ 47 h 1618"/>
                <a:gd name="T64" fmla="*/ 193 w 1616"/>
                <a:gd name="T65" fmla="*/ 47 h 1618"/>
                <a:gd name="T66" fmla="*/ 192 w 1616"/>
                <a:gd name="T67" fmla="*/ 46 h 1618"/>
                <a:gd name="T68" fmla="*/ 192 w 1616"/>
                <a:gd name="T69" fmla="*/ 45 h 1618"/>
                <a:gd name="T70" fmla="*/ 191 w 1616"/>
                <a:gd name="T71" fmla="*/ 44 h 1618"/>
                <a:gd name="T72" fmla="*/ 191 w 1616"/>
                <a:gd name="T73" fmla="*/ 42 h 1618"/>
                <a:gd name="T74" fmla="*/ 191 w 1616"/>
                <a:gd name="T75" fmla="*/ 42 h 1618"/>
                <a:gd name="T76" fmla="*/ 197 w 1616"/>
                <a:gd name="T77" fmla="*/ 32 h 1618"/>
                <a:gd name="T78" fmla="*/ 208 w 1616"/>
                <a:gd name="T79" fmla="*/ 23 h 1618"/>
                <a:gd name="T80" fmla="*/ 208 w 1616"/>
                <a:gd name="T81" fmla="*/ 14 h 1618"/>
                <a:gd name="T82" fmla="*/ 197 w 1616"/>
                <a:gd name="T83" fmla="*/ 3 h 1618"/>
                <a:gd name="T84" fmla="*/ 177 w 1616"/>
                <a:gd name="T85" fmla="*/ 0 h 1618"/>
                <a:gd name="T86" fmla="*/ 153 w 1616"/>
                <a:gd name="T87" fmla="*/ 7 h 1618"/>
                <a:gd name="T88" fmla="*/ 145 w 1616"/>
                <a:gd name="T89" fmla="*/ 16 h 1618"/>
                <a:gd name="T90" fmla="*/ 147 w 1616"/>
                <a:gd name="T91" fmla="*/ 25 h 1618"/>
                <a:gd name="T92" fmla="*/ 160 w 1616"/>
                <a:gd name="T93" fmla="*/ 35 h 1618"/>
                <a:gd name="T94" fmla="*/ 163 w 1616"/>
                <a:gd name="T95" fmla="*/ 42 h 1618"/>
                <a:gd name="T96" fmla="*/ 163 w 1616"/>
                <a:gd name="T97" fmla="*/ 42 h 1618"/>
                <a:gd name="T98" fmla="*/ 163 w 1616"/>
                <a:gd name="T99" fmla="*/ 45 h 1618"/>
                <a:gd name="T100" fmla="*/ 163 w 1616"/>
                <a:gd name="T101" fmla="*/ 45 h 1618"/>
                <a:gd name="T102" fmla="*/ 162 w 1616"/>
                <a:gd name="T103" fmla="*/ 47 h 1618"/>
                <a:gd name="T104" fmla="*/ 161 w 1616"/>
                <a:gd name="T105" fmla="*/ 47 h 1618"/>
                <a:gd name="T106" fmla="*/ 160 w 1616"/>
                <a:gd name="T107" fmla="*/ 48 h 1618"/>
                <a:gd name="T108" fmla="*/ 159 w 1616"/>
                <a:gd name="T109" fmla="*/ 49 h 1618"/>
                <a:gd name="T110" fmla="*/ 158 w 1616"/>
                <a:gd name="T111" fmla="*/ 50 h 1618"/>
                <a:gd name="T112" fmla="*/ 157 w 1616"/>
                <a:gd name="T113" fmla="*/ 50 h 1618"/>
                <a:gd name="T114" fmla="*/ 156 w 1616"/>
                <a:gd name="T115" fmla="*/ 51 h 1618"/>
                <a:gd name="T116" fmla="*/ 0 w 1616"/>
                <a:gd name="T117" fmla="*/ 204 h 161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16" h="1618">
                  <a:moveTo>
                    <a:pt x="1312" y="1426"/>
                  </a:moveTo>
                  <a:lnTo>
                    <a:pt x="1312" y="1426"/>
                  </a:lnTo>
                  <a:lnTo>
                    <a:pt x="1328" y="1410"/>
                  </a:lnTo>
                  <a:lnTo>
                    <a:pt x="1348" y="1396"/>
                  </a:lnTo>
                  <a:lnTo>
                    <a:pt x="1358" y="1392"/>
                  </a:lnTo>
                  <a:lnTo>
                    <a:pt x="1368" y="1388"/>
                  </a:lnTo>
                  <a:lnTo>
                    <a:pt x="1378" y="1388"/>
                  </a:lnTo>
                  <a:lnTo>
                    <a:pt x="1386" y="1390"/>
                  </a:lnTo>
                  <a:lnTo>
                    <a:pt x="1396" y="1398"/>
                  </a:lnTo>
                  <a:lnTo>
                    <a:pt x="1402" y="1404"/>
                  </a:lnTo>
                  <a:lnTo>
                    <a:pt x="1408" y="1412"/>
                  </a:lnTo>
                  <a:lnTo>
                    <a:pt x="1412" y="1420"/>
                  </a:lnTo>
                  <a:lnTo>
                    <a:pt x="1414" y="1436"/>
                  </a:lnTo>
                  <a:lnTo>
                    <a:pt x="1414" y="1452"/>
                  </a:lnTo>
                  <a:lnTo>
                    <a:pt x="1414" y="1470"/>
                  </a:lnTo>
                  <a:lnTo>
                    <a:pt x="1418" y="1486"/>
                  </a:lnTo>
                  <a:lnTo>
                    <a:pt x="1420" y="1494"/>
                  </a:lnTo>
                  <a:lnTo>
                    <a:pt x="1426" y="1502"/>
                  </a:lnTo>
                  <a:lnTo>
                    <a:pt x="1432" y="1508"/>
                  </a:lnTo>
                  <a:lnTo>
                    <a:pt x="1442" y="1516"/>
                  </a:lnTo>
                  <a:lnTo>
                    <a:pt x="1452" y="1520"/>
                  </a:lnTo>
                  <a:lnTo>
                    <a:pt x="1462" y="1522"/>
                  </a:lnTo>
                  <a:lnTo>
                    <a:pt x="1472" y="1522"/>
                  </a:lnTo>
                  <a:lnTo>
                    <a:pt x="1484" y="1522"/>
                  </a:lnTo>
                  <a:lnTo>
                    <a:pt x="1494" y="1518"/>
                  </a:lnTo>
                  <a:lnTo>
                    <a:pt x="1504" y="1514"/>
                  </a:lnTo>
                  <a:lnTo>
                    <a:pt x="1526" y="1500"/>
                  </a:lnTo>
                  <a:lnTo>
                    <a:pt x="1544" y="1484"/>
                  </a:lnTo>
                  <a:lnTo>
                    <a:pt x="1562" y="1466"/>
                  </a:lnTo>
                  <a:lnTo>
                    <a:pt x="1576" y="1448"/>
                  </a:lnTo>
                  <a:lnTo>
                    <a:pt x="1586" y="1432"/>
                  </a:lnTo>
                  <a:lnTo>
                    <a:pt x="1596" y="1416"/>
                  </a:lnTo>
                  <a:lnTo>
                    <a:pt x="1604" y="1394"/>
                  </a:lnTo>
                  <a:lnTo>
                    <a:pt x="1610" y="1370"/>
                  </a:lnTo>
                  <a:lnTo>
                    <a:pt x="1614" y="1346"/>
                  </a:lnTo>
                  <a:lnTo>
                    <a:pt x="1616" y="1322"/>
                  </a:lnTo>
                  <a:lnTo>
                    <a:pt x="1614" y="1310"/>
                  </a:lnTo>
                  <a:lnTo>
                    <a:pt x="1612" y="1298"/>
                  </a:lnTo>
                  <a:lnTo>
                    <a:pt x="1608" y="1288"/>
                  </a:lnTo>
                  <a:lnTo>
                    <a:pt x="1602" y="1280"/>
                  </a:lnTo>
                  <a:lnTo>
                    <a:pt x="1594" y="1272"/>
                  </a:lnTo>
                  <a:lnTo>
                    <a:pt x="1586" y="1266"/>
                  </a:lnTo>
                  <a:lnTo>
                    <a:pt x="1574" y="1262"/>
                  </a:lnTo>
                  <a:lnTo>
                    <a:pt x="1566" y="1258"/>
                  </a:lnTo>
                  <a:lnTo>
                    <a:pt x="1556" y="1258"/>
                  </a:lnTo>
                  <a:lnTo>
                    <a:pt x="1548" y="1260"/>
                  </a:lnTo>
                  <a:lnTo>
                    <a:pt x="1532" y="1266"/>
                  </a:lnTo>
                  <a:lnTo>
                    <a:pt x="1518" y="1274"/>
                  </a:lnTo>
                  <a:lnTo>
                    <a:pt x="1504" y="1282"/>
                  </a:lnTo>
                  <a:lnTo>
                    <a:pt x="1488" y="1288"/>
                  </a:lnTo>
                  <a:lnTo>
                    <a:pt x="1480" y="1288"/>
                  </a:lnTo>
                  <a:lnTo>
                    <a:pt x="1470" y="1288"/>
                  </a:lnTo>
                  <a:lnTo>
                    <a:pt x="1460" y="1286"/>
                  </a:lnTo>
                  <a:lnTo>
                    <a:pt x="1450" y="1280"/>
                  </a:lnTo>
                  <a:lnTo>
                    <a:pt x="1444" y="1274"/>
                  </a:lnTo>
                  <a:lnTo>
                    <a:pt x="1438" y="1266"/>
                  </a:lnTo>
                  <a:lnTo>
                    <a:pt x="1436" y="1256"/>
                  </a:lnTo>
                  <a:lnTo>
                    <a:pt x="1436" y="1244"/>
                  </a:lnTo>
                  <a:lnTo>
                    <a:pt x="1438" y="1220"/>
                  </a:lnTo>
                  <a:lnTo>
                    <a:pt x="1444" y="1198"/>
                  </a:lnTo>
                  <a:lnTo>
                    <a:pt x="1598" y="930"/>
                  </a:lnTo>
                  <a:lnTo>
                    <a:pt x="1600" y="926"/>
                  </a:lnTo>
                  <a:lnTo>
                    <a:pt x="1596" y="926"/>
                  </a:lnTo>
                  <a:lnTo>
                    <a:pt x="1462" y="694"/>
                  </a:lnTo>
                  <a:lnTo>
                    <a:pt x="1446" y="678"/>
                  </a:lnTo>
                  <a:lnTo>
                    <a:pt x="1426" y="664"/>
                  </a:lnTo>
                  <a:lnTo>
                    <a:pt x="1414" y="658"/>
                  </a:lnTo>
                  <a:lnTo>
                    <a:pt x="1404" y="656"/>
                  </a:lnTo>
                  <a:lnTo>
                    <a:pt x="1394" y="654"/>
                  </a:lnTo>
                  <a:lnTo>
                    <a:pt x="1386" y="658"/>
                  </a:lnTo>
                  <a:lnTo>
                    <a:pt x="1376" y="664"/>
                  </a:lnTo>
                  <a:lnTo>
                    <a:pt x="1368" y="672"/>
                  </a:lnTo>
                  <a:lnTo>
                    <a:pt x="1364" y="678"/>
                  </a:lnTo>
                  <a:lnTo>
                    <a:pt x="1360" y="686"/>
                  </a:lnTo>
                  <a:lnTo>
                    <a:pt x="1358" y="702"/>
                  </a:lnTo>
                  <a:lnTo>
                    <a:pt x="1358" y="720"/>
                  </a:lnTo>
                  <a:lnTo>
                    <a:pt x="1358" y="736"/>
                  </a:lnTo>
                  <a:lnTo>
                    <a:pt x="1354" y="752"/>
                  </a:lnTo>
                  <a:lnTo>
                    <a:pt x="1352" y="760"/>
                  </a:lnTo>
                  <a:lnTo>
                    <a:pt x="1346" y="768"/>
                  </a:lnTo>
                  <a:lnTo>
                    <a:pt x="1340" y="776"/>
                  </a:lnTo>
                  <a:lnTo>
                    <a:pt x="1330" y="782"/>
                  </a:lnTo>
                  <a:lnTo>
                    <a:pt x="1320" y="786"/>
                  </a:lnTo>
                  <a:lnTo>
                    <a:pt x="1310" y="790"/>
                  </a:lnTo>
                  <a:lnTo>
                    <a:pt x="1300" y="790"/>
                  </a:lnTo>
                  <a:lnTo>
                    <a:pt x="1288" y="788"/>
                  </a:lnTo>
                  <a:lnTo>
                    <a:pt x="1278" y="784"/>
                  </a:lnTo>
                  <a:lnTo>
                    <a:pt x="1268" y="780"/>
                  </a:lnTo>
                  <a:lnTo>
                    <a:pt x="1246" y="768"/>
                  </a:lnTo>
                  <a:lnTo>
                    <a:pt x="1228" y="752"/>
                  </a:lnTo>
                  <a:lnTo>
                    <a:pt x="1210" y="734"/>
                  </a:lnTo>
                  <a:lnTo>
                    <a:pt x="1196" y="716"/>
                  </a:lnTo>
                  <a:lnTo>
                    <a:pt x="1186" y="700"/>
                  </a:lnTo>
                  <a:lnTo>
                    <a:pt x="1176" y="682"/>
                  </a:lnTo>
                  <a:lnTo>
                    <a:pt x="1168" y="660"/>
                  </a:lnTo>
                  <a:lnTo>
                    <a:pt x="1162" y="638"/>
                  </a:lnTo>
                  <a:lnTo>
                    <a:pt x="1156" y="612"/>
                  </a:lnTo>
                  <a:lnTo>
                    <a:pt x="1156" y="588"/>
                  </a:lnTo>
                  <a:lnTo>
                    <a:pt x="1158" y="576"/>
                  </a:lnTo>
                  <a:lnTo>
                    <a:pt x="1160" y="566"/>
                  </a:lnTo>
                  <a:lnTo>
                    <a:pt x="1164" y="556"/>
                  </a:lnTo>
                  <a:lnTo>
                    <a:pt x="1170" y="546"/>
                  </a:lnTo>
                  <a:lnTo>
                    <a:pt x="1178" y="538"/>
                  </a:lnTo>
                  <a:lnTo>
                    <a:pt x="1186" y="532"/>
                  </a:lnTo>
                  <a:lnTo>
                    <a:pt x="1198" y="528"/>
                  </a:lnTo>
                  <a:lnTo>
                    <a:pt x="1206" y="526"/>
                  </a:lnTo>
                  <a:lnTo>
                    <a:pt x="1216" y="524"/>
                  </a:lnTo>
                  <a:lnTo>
                    <a:pt x="1224" y="526"/>
                  </a:lnTo>
                  <a:lnTo>
                    <a:pt x="1240" y="532"/>
                  </a:lnTo>
                  <a:lnTo>
                    <a:pt x="1254" y="540"/>
                  </a:lnTo>
                  <a:lnTo>
                    <a:pt x="1268" y="548"/>
                  </a:lnTo>
                  <a:lnTo>
                    <a:pt x="1284" y="554"/>
                  </a:lnTo>
                  <a:lnTo>
                    <a:pt x="1292" y="556"/>
                  </a:lnTo>
                  <a:lnTo>
                    <a:pt x="1302" y="554"/>
                  </a:lnTo>
                  <a:lnTo>
                    <a:pt x="1312" y="552"/>
                  </a:lnTo>
                  <a:lnTo>
                    <a:pt x="1322" y="546"/>
                  </a:lnTo>
                  <a:lnTo>
                    <a:pt x="1328" y="540"/>
                  </a:lnTo>
                  <a:lnTo>
                    <a:pt x="1334" y="532"/>
                  </a:lnTo>
                  <a:lnTo>
                    <a:pt x="1336" y="522"/>
                  </a:lnTo>
                  <a:lnTo>
                    <a:pt x="1336" y="510"/>
                  </a:lnTo>
                  <a:lnTo>
                    <a:pt x="1334" y="484"/>
                  </a:lnTo>
                  <a:lnTo>
                    <a:pt x="1328" y="462"/>
                  </a:lnTo>
                  <a:lnTo>
                    <a:pt x="1198" y="238"/>
                  </a:lnTo>
                  <a:lnTo>
                    <a:pt x="924" y="238"/>
                  </a:lnTo>
                  <a:lnTo>
                    <a:pt x="902" y="230"/>
                  </a:lnTo>
                  <a:lnTo>
                    <a:pt x="898" y="228"/>
                  </a:lnTo>
                  <a:lnTo>
                    <a:pt x="896" y="226"/>
                  </a:lnTo>
                  <a:lnTo>
                    <a:pt x="894" y="226"/>
                  </a:lnTo>
                  <a:lnTo>
                    <a:pt x="892" y="224"/>
                  </a:lnTo>
                  <a:lnTo>
                    <a:pt x="890" y="224"/>
                  </a:lnTo>
                  <a:lnTo>
                    <a:pt x="888" y="222"/>
                  </a:lnTo>
                  <a:lnTo>
                    <a:pt x="886" y="220"/>
                  </a:lnTo>
                  <a:lnTo>
                    <a:pt x="884" y="220"/>
                  </a:lnTo>
                  <a:lnTo>
                    <a:pt x="882" y="218"/>
                  </a:lnTo>
                  <a:lnTo>
                    <a:pt x="880" y="216"/>
                  </a:lnTo>
                  <a:lnTo>
                    <a:pt x="878" y="214"/>
                  </a:lnTo>
                  <a:lnTo>
                    <a:pt x="876" y="212"/>
                  </a:lnTo>
                  <a:lnTo>
                    <a:pt x="874" y="210"/>
                  </a:lnTo>
                  <a:lnTo>
                    <a:pt x="874" y="208"/>
                  </a:lnTo>
                  <a:lnTo>
                    <a:pt x="872" y="206"/>
                  </a:lnTo>
                  <a:lnTo>
                    <a:pt x="870" y="204"/>
                  </a:lnTo>
                  <a:lnTo>
                    <a:pt x="870" y="202"/>
                  </a:lnTo>
                  <a:lnTo>
                    <a:pt x="868" y="200"/>
                  </a:lnTo>
                  <a:lnTo>
                    <a:pt x="868" y="198"/>
                  </a:lnTo>
                  <a:lnTo>
                    <a:pt x="868" y="194"/>
                  </a:lnTo>
                  <a:lnTo>
                    <a:pt x="870" y="182"/>
                  </a:lnTo>
                  <a:lnTo>
                    <a:pt x="872" y="172"/>
                  </a:lnTo>
                  <a:lnTo>
                    <a:pt x="876" y="164"/>
                  </a:lnTo>
                  <a:lnTo>
                    <a:pt x="880" y="158"/>
                  </a:lnTo>
                  <a:lnTo>
                    <a:pt x="894" y="148"/>
                  </a:lnTo>
                  <a:lnTo>
                    <a:pt x="908" y="138"/>
                  </a:lnTo>
                  <a:lnTo>
                    <a:pt x="922" y="130"/>
                  </a:lnTo>
                  <a:lnTo>
                    <a:pt x="936" y="120"/>
                  </a:lnTo>
                  <a:lnTo>
                    <a:pt x="940" y="114"/>
                  </a:lnTo>
                  <a:lnTo>
                    <a:pt x="944" y="106"/>
                  </a:lnTo>
                  <a:lnTo>
                    <a:pt x="948" y="96"/>
                  </a:lnTo>
                  <a:lnTo>
                    <a:pt x="948" y="84"/>
                  </a:lnTo>
                  <a:lnTo>
                    <a:pt x="948" y="74"/>
                  </a:lnTo>
                  <a:lnTo>
                    <a:pt x="944" y="64"/>
                  </a:lnTo>
                  <a:lnTo>
                    <a:pt x="940" y="54"/>
                  </a:lnTo>
                  <a:lnTo>
                    <a:pt x="932" y="46"/>
                  </a:lnTo>
                  <a:lnTo>
                    <a:pt x="924" y="38"/>
                  </a:lnTo>
                  <a:lnTo>
                    <a:pt x="916" y="30"/>
                  </a:lnTo>
                  <a:lnTo>
                    <a:pt x="894" y="18"/>
                  </a:lnTo>
                  <a:lnTo>
                    <a:pt x="870" y="10"/>
                  </a:lnTo>
                  <a:lnTo>
                    <a:pt x="846" y="4"/>
                  </a:lnTo>
                  <a:lnTo>
                    <a:pt x="824" y="2"/>
                  </a:lnTo>
                  <a:lnTo>
                    <a:pt x="804" y="0"/>
                  </a:lnTo>
                  <a:lnTo>
                    <a:pt x="786" y="2"/>
                  </a:lnTo>
                  <a:lnTo>
                    <a:pt x="762" y="4"/>
                  </a:lnTo>
                  <a:lnTo>
                    <a:pt x="738" y="10"/>
                  </a:lnTo>
                  <a:lnTo>
                    <a:pt x="714" y="18"/>
                  </a:lnTo>
                  <a:lnTo>
                    <a:pt x="694" y="30"/>
                  </a:lnTo>
                  <a:lnTo>
                    <a:pt x="684" y="38"/>
                  </a:lnTo>
                  <a:lnTo>
                    <a:pt x="676" y="46"/>
                  </a:lnTo>
                  <a:lnTo>
                    <a:pt x="670" y="54"/>
                  </a:lnTo>
                  <a:lnTo>
                    <a:pt x="664" y="64"/>
                  </a:lnTo>
                  <a:lnTo>
                    <a:pt x="662" y="74"/>
                  </a:lnTo>
                  <a:lnTo>
                    <a:pt x="660" y="84"/>
                  </a:lnTo>
                  <a:lnTo>
                    <a:pt x="662" y="96"/>
                  </a:lnTo>
                  <a:lnTo>
                    <a:pt x="664" y="106"/>
                  </a:lnTo>
                  <a:lnTo>
                    <a:pt x="668" y="114"/>
                  </a:lnTo>
                  <a:lnTo>
                    <a:pt x="674" y="120"/>
                  </a:lnTo>
                  <a:lnTo>
                    <a:pt x="686" y="130"/>
                  </a:lnTo>
                  <a:lnTo>
                    <a:pt x="700" y="138"/>
                  </a:lnTo>
                  <a:lnTo>
                    <a:pt x="716" y="148"/>
                  </a:lnTo>
                  <a:lnTo>
                    <a:pt x="728" y="158"/>
                  </a:lnTo>
                  <a:lnTo>
                    <a:pt x="734" y="164"/>
                  </a:lnTo>
                  <a:lnTo>
                    <a:pt x="736" y="172"/>
                  </a:lnTo>
                  <a:lnTo>
                    <a:pt x="740" y="182"/>
                  </a:lnTo>
                  <a:lnTo>
                    <a:pt x="740" y="194"/>
                  </a:lnTo>
                  <a:lnTo>
                    <a:pt x="740" y="198"/>
                  </a:lnTo>
                  <a:lnTo>
                    <a:pt x="740" y="200"/>
                  </a:lnTo>
                  <a:lnTo>
                    <a:pt x="740" y="202"/>
                  </a:lnTo>
                  <a:lnTo>
                    <a:pt x="738" y="204"/>
                  </a:lnTo>
                  <a:lnTo>
                    <a:pt x="738" y="206"/>
                  </a:lnTo>
                  <a:lnTo>
                    <a:pt x="736" y="206"/>
                  </a:lnTo>
                  <a:lnTo>
                    <a:pt x="736" y="208"/>
                  </a:lnTo>
                  <a:lnTo>
                    <a:pt x="734" y="210"/>
                  </a:lnTo>
                  <a:lnTo>
                    <a:pt x="734" y="212"/>
                  </a:lnTo>
                  <a:lnTo>
                    <a:pt x="732" y="212"/>
                  </a:lnTo>
                  <a:lnTo>
                    <a:pt x="730" y="214"/>
                  </a:lnTo>
                  <a:lnTo>
                    <a:pt x="730" y="216"/>
                  </a:lnTo>
                  <a:lnTo>
                    <a:pt x="726" y="218"/>
                  </a:lnTo>
                  <a:lnTo>
                    <a:pt x="724" y="220"/>
                  </a:lnTo>
                  <a:lnTo>
                    <a:pt x="722" y="220"/>
                  </a:lnTo>
                  <a:lnTo>
                    <a:pt x="720" y="222"/>
                  </a:lnTo>
                  <a:lnTo>
                    <a:pt x="718" y="224"/>
                  </a:lnTo>
                  <a:lnTo>
                    <a:pt x="716" y="224"/>
                  </a:lnTo>
                  <a:lnTo>
                    <a:pt x="714" y="226"/>
                  </a:lnTo>
                  <a:lnTo>
                    <a:pt x="712" y="226"/>
                  </a:lnTo>
                  <a:lnTo>
                    <a:pt x="710" y="228"/>
                  </a:lnTo>
                  <a:lnTo>
                    <a:pt x="708" y="230"/>
                  </a:lnTo>
                  <a:lnTo>
                    <a:pt x="706" y="230"/>
                  </a:lnTo>
                  <a:lnTo>
                    <a:pt x="684" y="238"/>
                  </a:lnTo>
                  <a:lnTo>
                    <a:pt x="400" y="238"/>
                  </a:lnTo>
                  <a:lnTo>
                    <a:pt x="398" y="236"/>
                  </a:lnTo>
                  <a:lnTo>
                    <a:pt x="0" y="926"/>
                  </a:lnTo>
                  <a:lnTo>
                    <a:pt x="400" y="1618"/>
                  </a:lnTo>
                  <a:lnTo>
                    <a:pt x="1198" y="1618"/>
                  </a:lnTo>
                  <a:lnTo>
                    <a:pt x="1200" y="1618"/>
                  </a:lnTo>
                  <a:lnTo>
                    <a:pt x="1312" y="1426"/>
                  </a:lnTo>
                  <a:close/>
                </a:path>
              </a:pathLst>
            </a:custGeom>
            <a:solidFill>
              <a:srgbClr val="50EC20"/>
            </a:solidFill>
            <a:ln w="38100" cap="flat" cmpd="sng">
              <a:solidFill>
                <a:srgbClr val="5F5F5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E"/>
            </a:p>
          </p:txBody>
        </p:sp>
        <p:sp>
          <p:nvSpPr>
            <p:cNvPr id="29709" name="Text Box 18"/>
            <p:cNvSpPr txBox="1">
              <a:spLocks noChangeArrowheads="1"/>
            </p:cNvSpPr>
            <p:nvPr/>
          </p:nvSpPr>
          <p:spPr bwMode="auto">
            <a:xfrm>
              <a:off x="1463" y="3123"/>
              <a:ext cx="785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5F5F5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GB" b="1">
                  <a:solidFill>
                    <a:srgbClr val="000000"/>
                  </a:solidFill>
                  <a:cs typeface="Arial" charset="0"/>
                </a:rPr>
                <a:t>Patient</a:t>
              </a:r>
            </a:p>
          </p:txBody>
        </p:sp>
      </p:grpSp>
      <p:grpSp>
        <p:nvGrpSpPr>
          <p:cNvPr id="29705" name="Group 19"/>
          <p:cNvGrpSpPr>
            <a:grpSpLocks/>
          </p:cNvGrpSpPr>
          <p:nvPr/>
        </p:nvGrpSpPr>
        <p:grpSpPr bwMode="auto">
          <a:xfrm>
            <a:off x="2686050" y="2036763"/>
            <a:ext cx="1754188" cy="1508125"/>
            <a:chOff x="1305" y="1479"/>
            <a:chExt cx="1105" cy="950"/>
          </a:xfrm>
        </p:grpSpPr>
        <p:sp>
          <p:nvSpPr>
            <p:cNvPr id="29706" name="Freeform 20"/>
            <p:cNvSpPr>
              <a:spLocks/>
            </p:cNvSpPr>
            <p:nvPr/>
          </p:nvSpPr>
          <p:spPr bwMode="auto">
            <a:xfrm>
              <a:off x="1305" y="1479"/>
              <a:ext cx="1105" cy="950"/>
            </a:xfrm>
            <a:custGeom>
              <a:avLst/>
              <a:gdLst>
                <a:gd name="T0" fmla="*/ 153 w 1612"/>
                <a:gd name="T1" fmla="*/ 305 h 1386"/>
                <a:gd name="T2" fmla="*/ 157 w 1612"/>
                <a:gd name="T3" fmla="*/ 304 h 1386"/>
                <a:gd name="T4" fmla="*/ 158 w 1612"/>
                <a:gd name="T5" fmla="*/ 304 h 1386"/>
                <a:gd name="T6" fmla="*/ 159 w 1612"/>
                <a:gd name="T7" fmla="*/ 302 h 1386"/>
                <a:gd name="T8" fmla="*/ 160 w 1612"/>
                <a:gd name="T9" fmla="*/ 302 h 1386"/>
                <a:gd name="T10" fmla="*/ 161 w 1612"/>
                <a:gd name="T11" fmla="*/ 301 h 1386"/>
                <a:gd name="T12" fmla="*/ 162 w 1612"/>
                <a:gd name="T13" fmla="*/ 300 h 1386"/>
                <a:gd name="T14" fmla="*/ 162 w 1612"/>
                <a:gd name="T15" fmla="*/ 299 h 1386"/>
                <a:gd name="T16" fmla="*/ 163 w 1612"/>
                <a:gd name="T17" fmla="*/ 298 h 1386"/>
                <a:gd name="T18" fmla="*/ 164 w 1612"/>
                <a:gd name="T19" fmla="*/ 297 h 1386"/>
                <a:gd name="T20" fmla="*/ 164 w 1612"/>
                <a:gd name="T21" fmla="*/ 297 h 1386"/>
                <a:gd name="T22" fmla="*/ 158 w 1612"/>
                <a:gd name="T23" fmla="*/ 286 h 1386"/>
                <a:gd name="T24" fmla="*/ 147 w 1612"/>
                <a:gd name="T25" fmla="*/ 277 h 1386"/>
                <a:gd name="T26" fmla="*/ 145 w 1612"/>
                <a:gd name="T27" fmla="*/ 271 h 1386"/>
                <a:gd name="T28" fmla="*/ 149 w 1612"/>
                <a:gd name="T29" fmla="*/ 264 h 1386"/>
                <a:gd name="T30" fmla="*/ 168 w 1612"/>
                <a:gd name="T31" fmla="*/ 254 h 1386"/>
                <a:gd name="T32" fmla="*/ 187 w 1612"/>
                <a:gd name="T33" fmla="*/ 254 h 1386"/>
                <a:gd name="T34" fmla="*/ 206 w 1612"/>
                <a:gd name="T35" fmla="*/ 264 h 1386"/>
                <a:gd name="T36" fmla="*/ 210 w 1612"/>
                <a:gd name="T37" fmla="*/ 271 h 1386"/>
                <a:gd name="T38" fmla="*/ 208 w 1612"/>
                <a:gd name="T39" fmla="*/ 277 h 1386"/>
                <a:gd name="T40" fmla="*/ 197 w 1612"/>
                <a:gd name="T41" fmla="*/ 286 h 1386"/>
                <a:gd name="T42" fmla="*/ 192 w 1612"/>
                <a:gd name="T43" fmla="*/ 297 h 1386"/>
                <a:gd name="T44" fmla="*/ 192 w 1612"/>
                <a:gd name="T45" fmla="*/ 297 h 1386"/>
                <a:gd name="T46" fmla="*/ 192 w 1612"/>
                <a:gd name="T47" fmla="*/ 298 h 1386"/>
                <a:gd name="T48" fmla="*/ 193 w 1612"/>
                <a:gd name="T49" fmla="*/ 299 h 1386"/>
                <a:gd name="T50" fmla="*/ 193 w 1612"/>
                <a:gd name="T51" fmla="*/ 300 h 1386"/>
                <a:gd name="T52" fmla="*/ 194 w 1612"/>
                <a:gd name="T53" fmla="*/ 301 h 1386"/>
                <a:gd name="T54" fmla="*/ 195 w 1612"/>
                <a:gd name="T55" fmla="*/ 302 h 1386"/>
                <a:gd name="T56" fmla="*/ 196 w 1612"/>
                <a:gd name="T57" fmla="*/ 302 h 1386"/>
                <a:gd name="T58" fmla="*/ 197 w 1612"/>
                <a:gd name="T59" fmla="*/ 304 h 1386"/>
                <a:gd name="T60" fmla="*/ 198 w 1612"/>
                <a:gd name="T61" fmla="*/ 304 h 1386"/>
                <a:gd name="T62" fmla="*/ 202 w 1612"/>
                <a:gd name="T63" fmla="*/ 305 h 1386"/>
                <a:gd name="T64" fmla="*/ 292 w 1612"/>
                <a:gd name="T65" fmla="*/ 258 h 1386"/>
                <a:gd name="T66" fmla="*/ 293 w 1612"/>
                <a:gd name="T67" fmla="*/ 244 h 1386"/>
                <a:gd name="T68" fmla="*/ 286 w 1612"/>
                <a:gd name="T69" fmla="*/ 239 h 1386"/>
                <a:gd name="T70" fmla="*/ 272 w 1612"/>
                <a:gd name="T71" fmla="*/ 244 h 1386"/>
                <a:gd name="T72" fmla="*/ 260 w 1612"/>
                <a:gd name="T73" fmla="*/ 243 h 1386"/>
                <a:gd name="T74" fmla="*/ 255 w 1612"/>
                <a:gd name="T75" fmla="*/ 236 h 1386"/>
                <a:gd name="T76" fmla="*/ 256 w 1612"/>
                <a:gd name="T77" fmla="*/ 215 h 1386"/>
                <a:gd name="T78" fmla="*/ 266 w 1612"/>
                <a:gd name="T79" fmla="*/ 199 h 1386"/>
                <a:gd name="T80" fmla="*/ 283 w 1612"/>
                <a:gd name="T81" fmla="*/ 187 h 1386"/>
                <a:gd name="T82" fmla="*/ 292 w 1612"/>
                <a:gd name="T83" fmla="*/ 188 h 1386"/>
                <a:gd name="T84" fmla="*/ 298 w 1612"/>
                <a:gd name="T85" fmla="*/ 199 h 1386"/>
                <a:gd name="T86" fmla="*/ 301 w 1612"/>
                <a:gd name="T87" fmla="*/ 212 h 1386"/>
                <a:gd name="T88" fmla="*/ 308 w 1612"/>
                <a:gd name="T89" fmla="*/ 217 h 1386"/>
                <a:gd name="T90" fmla="*/ 353 w 1612"/>
                <a:gd name="T91" fmla="*/ 154 h 1386"/>
                <a:gd name="T92" fmla="*/ 316 w 1612"/>
                <a:gd name="T93" fmla="*/ 84 h 1386"/>
                <a:gd name="T94" fmla="*/ 319 w 1612"/>
                <a:gd name="T95" fmla="*/ 75 h 1386"/>
                <a:gd name="T96" fmla="*/ 331 w 1612"/>
                <a:gd name="T97" fmla="*/ 75 h 1386"/>
                <a:gd name="T98" fmla="*/ 345 w 1612"/>
                <a:gd name="T99" fmla="*/ 80 h 1386"/>
                <a:gd name="T100" fmla="*/ 352 w 1612"/>
                <a:gd name="T101" fmla="*/ 76 h 1386"/>
                <a:gd name="T102" fmla="*/ 356 w 1612"/>
                <a:gd name="T103" fmla="*/ 65 h 1386"/>
                <a:gd name="T104" fmla="*/ 349 w 1612"/>
                <a:gd name="T105" fmla="*/ 44 h 1386"/>
                <a:gd name="T106" fmla="*/ 331 w 1612"/>
                <a:gd name="T107" fmla="*/ 26 h 1386"/>
                <a:gd name="T108" fmla="*/ 320 w 1612"/>
                <a:gd name="T109" fmla="*/ 24 h 1386"/>
                <a:gd name="T110" fmla="*/ 313 w 1612"/>
                <a:gd name="T111" fmla="*/ 31 h 1386"/>
                <a:gd name="T112" fmla="*/ 312 w 1612"/>
                <a:gd name="T113" fmla="*/ 40 h 1386"/>
                <a:gd name="T114" fmla="*/ 307 w 1612"/>
                <a:gd name="T115" fmla="*/ 51 h 1386"/>
                <a:gd name="T116" fmla="*/ 300 w 1612"/>
                <a:gd name="T117" fmla="*/ 53 h 1386"/>
                <a:gd name="T118" fmla="*/ 88 w 1612"/>
                <a:gd name="T119" fmla="*/ 0 h 138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612" h="1386">
                  <a:moveTo>
                    <a:pt x="674" y="1382"/>
                  </a:moveTo>
                  <a:lnTo>
                    <a:pt x="674" y="1382"/>
                  </a:lnTo>
                  <a:lnTo>
                    <a:pt x="670" y="1382"/>
                  </a:lnTo>
                  <a:lnTo>
                    <a:pt x="694" y="1382"/>
                  </a:lnTo>
                  <a:lnTo>
                    <a:pt x="706" y="1378"/>
                  </a:lnTo>
                  <a:lnTo>
                    <a:pt x="708" y="1378"/>
                  </a:lnTo>
                  <a:lnTo>
                    <a:pt x="710" y="1376"/>
                  </a:lnTo>
                  <a:lnTo>
                    <a:pt x="712" y="1374"/>
                  </a:lnTo>
                  <a:lnTo>
                    <a:pt x="714" y="1374"/>
                  </a:lnTo>
                  <a:lnTo>
                    <a:pt x="716" y="1372"/>
                  </a:lnTo>
                  <a:lnTo>
                    <a:pt x="718" y="1372"/>
                  </a:lnTo>
                  <a:lnTo>
                    <a:pt x="720" y="1370"/>
                  </a:lnTo>
                  <a:lnTo>
                    <a:pt x="722" y="1368"/>
                  </a:lnTo>
                  <a:lnTo>
                    <a:pt x="724" y="1368"/>
                  </a:lnTo>
                  <a:lnTo>
                    <a:pt x="726" y="1366"/>
                  </a:lnTo>
                  <a:lnTo>
                    <a:pt x="730" y="1364"/>
                  </a:lnTo>
                  <a:lnTo>
                    <a:pt x="730" y="1362"/>
                  </a:lnTo>
                  <a:lnTo>
                    <a:pt x="732" y="1360"/>
                  </a:lnTo>
                  <a:lnTo>
                    <a:pt x="734" y="1360"/>
                  </a:lnTo>
                  <a:lnTo>
                    <a:pt x="734" y="1358"/>
                  </a:lnTo>
                  <a:lnTo>
                    <a:pt x="736" y="1356"/>
                  </a:lnTo>
                  <a:lnTo>
                    <a:pt x="736" y="1354"/>
                  </a:lnTo>
                  <a:lnTo>
                    <a:pt x="738" y="1354"/>
                  </a:lnTo>
                  <a:lnTo>
                    <a:pt x="738" y="1352"/>
                  </a:lnTo>
                  <a:lnTo>
                    <a:pt x="740" y="1350"/>
                  </a:lnTo>
                  <a:lnTo>
                    <a:pt x="740" y="1348"/>
                  </a:lnTo>
                  <a:lnTo>
                    <a:pt x="740" y="1346"/>
                  </a:lnTo>
                  <a:lnTo>
                    <a:pt x="740" y="1342"/>
                  </a:lnTo>
                  <a:lnTo>
                    <a:pt x="740" y="1330"/>
                  </a:lnTo>
                  <a:lnTo>
                    <a:pt x="736" y="1320"/>
                  </a:lnTo>
                  <a:lnTo>
                    <a:pt x="734" y="1312"/>
                  </a:lnTo>
                  <a:lnTo>
                    <a:pt x="728" y="1306"/>
                  </a:lnTo>
                  <a:lnTo>
                    <a:pt x="716" y="1296"/>
                  </a:lnTo>
                  <a:lnTo>
                    <a:pt x="700" y="1286"/>
                  </a:lnTo>
                  <a:lnTo>
                    <a:pt x="686" y="1278"/>
                  </a:lnTo>
                  <a:lnTo>
                    <a:pt x="674" y="1268"/>
                  </a:lnTo>
                  <a:lnTo>
                    <a:pt x="668" y="1262"/>
                  </a:lnTo>
                  <a:lnTo>
                    <a:pt x="664" y="1254"/>
                  </a:lnTo>
                  <a:lnTo>
                    <a:pt x="662" y="1244"/>
                  </a:lnTo>
                  <a:lnTo>
                    <a:pt x="660" y="1232"/>
                  </a:lnTo>
                  <a:lnTo>
                    <a:pt x="662" y="1222"/>
                  </a:lnTo>
                  <a:lnTo>
                    <a:pt x="664" y="1212"/>
                  </a:lnTo>
                  <a:lnTo>
                    <a:pt x="670" y="1202"/>
                  </a:lnTo>
                  <a:lnTo>
                    <a:pt x="676" y="1194"/>
                  </a:lnTo>
                  <a:lnTo>
                    <a:pt x="684" y="1186"/>
                  </a:lnTo>
                  <a:lnTo>
                    <a:pt x="694" y="1178"/>
                  </a:lnTo>
                  <a:lnTo>
                    <a:pt x="714" y="1166"/>
                  </a:lnTo>
                  <a:lnTo>
                    <a:pt x="738" y="1158"/>
                  </a:lnTo>
                  <a:lnTo>
                    <a:pt x="762" y="1152"/>
                  </a:lnTo>
                  <a:lnTo>
                    <a:pt x="786" y="1150"/>
                  </a:lnTo>
                  <a:lnTo>
                    <a:pt x="804" y="1148"/>
                  </a:lnTo>
                  <a:lnTo>
                    <a:pt x="824" y="1150"/>
                  </a:lnTo>
                  <a:lnTo>
                    <a:pt x="846" y="1152"/>
                  </a:lnTo>
                  <a:lnTo>
                    <a:pt x="870" y="1158"/>
                  </a:lnTo>
                  <a:lnTo>
                    <a:pt x="894" y="1166"/>
                  </a:lnTo>
                  <a:lnTo>
                    <a:pt x="916" y="1178"/>
                  </a:lnTo>
                  <a:lnTo>
                    <a:pt x="924" y="1186"/>
                  </a:lnTo>
                  <a:lnTo>
                    <a:pt x="932" y="1194"/>
                  </a:lnTo>
                  <a:lnTo>
                    <a:pt x="940" y="1202"/>
                  </a:lnTo>
                  <a:lnTo>
                    <a:pt x="944" y="1212"/>
                  </a:lnTo>
                  <a:lnTo>
                    <a:pt x="948" y="1222"/>
                  </a:lnTo>
                  <a:lnTo>
                    <a:pt x="948" y="1232"/>
                  </a:lnTo>
                  <a:lnTo>
                    <a:pt x="948" y="1244"/>
                  </a:lnTo>
                  <a:lnTo>
                    <a:pt x="944" y="1254"/>
                  </a:lnTo>
                  <a:lnTo>
                    <a:pt x="940" y="1262"/>
                  </a:lnTo>
                  <a:lnTo>
                    <a:pt x="936" y="1268"/>
                  </a:lnTo>
                  <a:lnTo>
                    <a:pt x="922" y="1278"/>
                  </a:lnTo>
                  <a:lnTo>
                    <a:pt x="908" y="1286"/>
                  </a:lnTo>
                  <a:lnTo>
                    <a:pt x="894" y="1296"/>
                  </a:lnTo>
                  <a:lnTo>
                    <a:pt x="880" y="1306"/>
                  </a:lnTo>
                  <a:lnTo>
                    <a:pt x="876" y="1312"/>
                  </a:lnTo>
                  <a:lnTo>
                    <a:pt x="872" y="1320"/>
                  </a:lnTo>
                  <a:lnTo>
                    <a:pt x="870" y="1330"/>
                  </a:lnTo>
                  <a:lnTo>
                    <a:pt x="868" y="1342"/>
                  </a:lnTo>
                  <a:lnTo>
                    <a:pt x="868" y="1346"/>
                  </a:lnTo>
                  <a:lnTo>
                    <a:pt x="868" y="1348"/>
                  </a:lnTo>
                  <a:lnTo>
                    <a:pt x="870" y="1350"/>
                  </a:lnTo>
                  <a:lnTo>
                    <a:pt x="870" y="1352"/>
                  </a:lnTo>
                  <a:lnTo>
                    <a:pt x="872" y="1354"/>
                  </a:lnTo>
                  <a:lnTo>
                    <a:pt x="874" y="1356"/>
                  </a:lnTo>
                  <a:lnTo>
                    <a:pt x="874" y="1358"/>
                  </a:lnTo>
                  <a:lnTo>
                    <a:pt x="876" y="1360"/>
                  </a:lnTo>
                  <a:lnTo>
                    <a:pt x="878" y="1362"/>
                  </a:lnTo>
                  <a:lnTo>
                    <a:pt x="880" y="1364"/>
                  </a:lnTo>
                  <a:lnTo>
                    <a:pt x="882" y="1366"/>
                  </a:lnTo>
                  <a:lnTo>
                    <a:pt x="884" y="1368"/>
                  </a:lnTo>
                  <a:lnTo>
                    <a:pt x="886" y="1368"/>
                  </a:lnTo>
                  <a:lnTo>
                    <a:pt x="888" y="1370"/>
                  </a:lnTo>
                  <a:lnTo>
                    <a:pt x="890" y="1372"/>
                  </a:lnTo>
                  <a:lnTo>
                    <a:pt x="892" y="1372"/>
                  </a:lnTo>
                  <a:lnTo>
                    <a:pt x="894" y="1374"/>
                  </a:lnTo>
                  <a:lnTo>
                    <a:pt x="896" y="1374"/>
                  </a:lnTo>
                  <a:lnTo>
                    <a:pt x="898" y="1376"/>
                  </a:lnTo>
                  <a:lnTo>
                    <a:pt x="902" y="1378"/>
                  </a:lnTo>
                  <a:lnTo>
                    <a:pt x="914" y="1382"/>
                  </a:lnTo>
                  <a:lnTo>
                    <a:pt x="940" y="1382"/>
                  </a:lnTo>
                  <a:lnTo>
                    <a:pt x="934" y="1382"/>
                  </a:lnTo>
                  <a:lnTo>
                    <a:pt x="1198" y="1386"/>
                  </a:lnTo>
                  <a:lnTo>
                    <a:pt x="1322" y="1172"/>
                  </a:lnTo>
                  <a:lnTo>
                    <a:pt x="1326" y="1150"/>
                  </a:lnTo>
                  <a:lnTo>
                    <a:pt x="1330" y="1126"/>
                  </a:lnTo>
                  <a:lnTo>
                    <a:pt x="1328" y="1114"/>
                  </a:lnTo>
                  <a:lnTo>
                    <a:pt x="1326" y="1104"/>
                  </a:lnTo>
                  <a:lnTo>
                    <a:pt x="1322" y="1094"/>
                  </a:lnTo>
                  <a:lnTo>
                    <a:pt x="1316" y="1088"/>
                  </a:lnTo>
                  <a:lnTo>
                    <a:pt x="1304" y="1084"/>
                  </a:lnTo>
                  <a:lnTo>
                    <a:pt x="1294" y="1080"/>
                  </a:lnTo>
                  <a:lnTo>
                    <a:pt x="1286" y="1080"/>
                  </a:lnTo>
                  <a:lnTo>
                    <a:pt x="1278" y="1082"/>
                  </a:lnTo>
                  <a:lnTo>
                    <a:pt x="1262" y="1086"/>
                  </a:lnTo>
                  <a:lnTo>
                    <a:pt x="1248" y="1096"/>
                  </a:lnTo>
                  <a:lnTo>
                    <a:pt x="1232" y="1104"/>
                  </a:lnTo>
                  <a:lnTo>
                    <a:pt x="1218" y="1110"/>
                  </a:lnTo>
                  <a:lnTo>
                    <a:pt x="1208" y="1110"/>
                  </a:lnTo>
                  <a:lnTo>
                    <a:pt x="1200" y="1110"/>
                  </a:lnTo>
                  <a:lnTo>
                    <a:pt x="1190" y="1108"/>
                  </a:lnTo>
                  <a:lnTo>
                    <a:pt x="1180" y="1102"/>
                  </a:lnTo>
                  <a:lnTo>
                    <a:pt x="1170" y="1096"/>
                  </a:lnTo>
                  <a:lnTo>
                    <a:pt x="1164" y="1088"/>
                  </a:lnTo>
                  <a:lnTo>
                    <a:pt x="1158" y="1080"/>
                  </a:lnTo>
                  <a:lnTo>
                    <a:pt x="1154" y="1070"/>
                  </a:lnTo>
                  <a:lnTo>
                    <a:pt x="1152" y="1060"/>
                  </a:lnTo>
                  <a:lnTo>
                    <a:pt x="1150" y="1048"/>
                  </a:lnTo>
                  <a:lnTo>
                    <a:pt x="1150" y="1024"/>
                  </a:lnTo>
                  <a:lnTo>
                    <a:pt x="1154" y="998"/>
                  </a:lnTo>
                  <a:lnTo>
                    <a:pt x="1162" y="974"/>
                  </a:lnTo>
                  <a:lnTo>
                    <a:pt x="1170" y="954"/>
                  </a:lnTo>
                  <a:lnTo>
                    <a:pt x="1180" y="936"/>
                  </a:lnTo>
                  <a:lnTo>
                    <a:pt x="1190" y="920"/>
                  </a:lnTo>
                  <a:lnTo>
                    <a:pt x="1204" y="902"/>
                  </a:lnTo>
                  <a:lnTo>
                    <a:pt x="1220" y="884"/>
                  </a:lnTo>
                  <a:lnTo>
                    <a:pt x="1240" y="868"/>
                  </a:lnTo>
                  <a:lnTo>
                    <a:pt x="1260" y="856"/>
                  </a:lnTo>
                  <a:lnTo>
                    <a:pt x="1272" y="850"/>
                  </a:lnTo>
                  <a:lnTo>
                    <a:pt x="1282" y="848"/>
                  </a:lnTo>
                  <a:lnTo>
                    <a:pt x="1292" y="846"/>
                  </a:lnTo>
                  <a:lnTo>
                    <a:pt x="1304" y="846"/>
                  </a:lnTo>
                  <a:lnTo>
                    <a:pt x="1314" y="848"/>
                  </a:lnTo>
                  <a:lnTo>
                    <a:pt x="1324" y="854"/>
                  </a:lnTo>
                  <a:lnTo>
                    <a:pt x="1334" y="860"/>
                  </a:lnTo>
                  <a:lnTo>
                    <a:pt x="1340" y="868"/>
                  </a:lnTo>
                  <a:lnTo>
                    <a:pt x="1346" y="874"/>
                  </a:lnTo>
                  <a:lnTo>
                    <a:pt x="1348" y="882"/>
                  </a:lnTo>
                  <a:lnTo>
                    <a:pt x="1350" y="900"/>
                  </a:lnTo>
                  <a:lnTo>
                    <a:pt x="1350" y="916"/>
                  </a:lnTo>
                  <a:lnTo>
                    <a:pt x="1350" y="932"/>
                  </a:lnTo>
                  <a:lnTo>
                    <a:pt x="1354" y="948"/>
                  </a:lnTo>
                  <a:lnTo>
                    <a:pt x="1358" y="956"/>
                  </a:lnTo>
                  <a:lnTo>
                    <a:pt x="1362" y="964"/>
                  </a:lnTo>
                  <a:lnTo>
                    <a:pt x="1370" y="972"/>
                  </a:lnTo>
                  <a:lnTo>
                    <a:pt x="1380" y="978"/>
                  </a:lnTo>
                  <a:lnTo>
                    <a:pt x="1388" y="980"/>
                  </a:lnTo>
                  <a:lnTo>
                    <a:pt x="1398" y="980"/>
                  </a:lnTo>
                  <a:lnTo>
                    <a:pt x="1408" y="976"/>
                  </a:lnTo>
                  <a:lnTo>
                    <a:pt x="1418" y="972"/>
                  </a:lnTo>
                  <a:lnTo>
                    <a:pt x="1438" y="958"/>
                  </a:lnTo>
                  <a:lnTo>
                    <a:pt x="1456" y="942"/>
                  </a:lnTo>
                  <a:lnTo>
                    <a:pt x="1598" y="696"/>
                  </a:lnTo>
                  <a:lnTo>
                    <a:pt x="1436" y="418"/>
                  </a:lnTo>
                  <a:lnTo>
                    <a:pt x="1434" y="400"/>
                  </a:lnTo>
                  <a:lnTo>
                    <a:pt x="1432" y="382"/>
                  </a:lnTo>
                  <a:lnTo>
                    <a:pt x="1432" y="370"/>
                  </a:lnTo>
                  <a:lnTo>
                    <a:pt x="1434" y="358"/>
                  </a:lnTo>
                  <a:lnTo>
                    <a:pt x="1440" y="348"/>
                  </a:lnTo>
                  <a:lnTo>
                    <a:pt x="1446" y="342"/>
                  </a:lnTo>
                  <a:lnTo>
                    <a:pt x="1456" y="338"/>
                  </a:lnTo>
                  <a:lnTo>
                    <a:pt x="1466" y="334"/>
                  </a:lnTo>
                  <a:lnTo>
                    <a:pt x="1476" y="334"/>
                  </a:lnTo>
                  <a:lnTo>
                    <a:pt x="1484" y="334"/>
                  </a:lnTo>
                  <a:lnTo>
                    <a:pt x="1500" y="340"/>
                  </a:lnTo>
                  <a:lnTo>
                    <a:pt x="1514" y="348"/>
                  </a:lnTo>
                  <a:lnTo>
                    <a:pt x="1528" y="358"/>
                  </a:lnTo>
                  <a:lnTo>
                    <a:pt x="1544" y="364"/>
                  </a:lnTo>
                  <a:lnTo>
                    <a:pt x="1552" y="364"/>
                  </a:lnTo>
                  <a:lnTo>
                    <a:pt x="1562" y="364"/>
                  </a:lnTo>
                  <a:lnTo>
                    <a:pt x="1572" y="362"/>
                  </a:lnTo>
                  <a:lnTo>
                    <a:pt x="1582" y="356"/>
                  </a:lnTo>
                  <a:lnTo>
                    <a:pt x="1590" y="352"/>
                  </a:lnTo>
                  <a:lnTo>
                    <a:pt x="1596" y="346"/>
                  </a:lnTo>
                  <a:lnTo>
                    <a:pt x="1600" y="340"/>
                  </a:lnTo>
                  <a:lnTo>
                    <a:pt x="1604" y="332"/>
                  </a:lnTo>
                  <a:lnTo>
                    <a:pt x="1610" y="316"/>
                  </a:lnTo>
                  <a:lnTo>
                    <a:pt x="1612" y="296"/>
                  </a:lnTo>
                  <a:lnTo>
                    <a:pt x="1608" y="268"/>
                  </a:lnTo>
                  <a:lnTo>
                    <a:pt x="1602" y="242"/>
                  </a:lnTo>
                  <a:lnTo>
                    <a:pt x="1592" y="218"/>
                  </a:lnTo>
                  <a:lnTo>
                    <a:pt x="1582" y="198"/>
                  </a:lnTo>
                  <a:lnTo>
                    <a:pt x="1572" y="182"/>
                  </a:lnTo>
                  <a:lnTo>
                    <a:pt x="1558" y="164"/>
                  </a:lnTo>
                  <a:lnTo>
                    <a:pt x="1542" y="146"/>
                  </a:lnTo>
                  <a:lnTo>
                    <a:pt x="1522" y="130"/>
                  </a:lnTo>
                  <a:lnTo>
                    <a:pt x="1500" y="116"/>
                  </a:lnTo>
                  <a:lnTo>
                    <a:pt x="1490" y="112"/>
                  </a:lnTo>
                  <a:lnTo>
                    <a:pt x="1480" y="108"/>
                  </a:lnTo>
                  <a:lnTo>
                    <a:pt x="1468" y="108"/>
                  </a:lnTo>
                  <a:lnTo>
                    <a:pt x="1458" y="108"/>
                  </a:lnTo>
                  <a:lnTo>
                    <a:pt x="1448" y="110"/>
                  </a:lnTo>
                  <a:lnTo>
                    <a:pt x="1438" y="116"/>
                  </a:lnTo>
                  <a:lnTo>
                    <a:pt x="1430" y="120"/>
                  </a:lnTo>
                  <a:lnTo>
                    <a:pt x="1424" y="126"/>
                  </a:lnTo>
                  <a:lnTo>
                    <a:pt x="1416" y="138"/>
                  </a:lnTo>
                  <a:lnTo>
                    <a:pt x="1412" y="150"/>
                  </a:lnTo>
                  <a:lnTo>
                    <a:pt x="1410" y="164"/>
                  </a:lnTo>
                  <a:lnTo>
                    <a:pt x="1412" y="182"/>
                  </a:lnTo>
                  <a:lnTo>
                    <a:pt x="1410" y="198"/>
                  </a:lnTo>
                  <a:lnTo>
                    <a:pt x="1408" y="212"/>
                  </a:lnTo>
                  <a:lnTo>
                    <a:pt x="1404" y="220"/>
                  </a:lnTo>
                  <a:lnTo>
                    <a:pt x="1398" y="226"/>
                  </a:lnTo>
                  <a:lnTo>
                    <a:pt x="1392" y="234"/>
                  </a:lnTo>
                  <a:lnTo>
                    <a:pt x="1382" y="240"/>
                  </a:lnTo>
                  <a:lnTo>
                    <a:pt x="1376" y="242"/>
                  </a:lnTo>
                  <a:lnTo>
                    <a:pt x="1368" y="242"/>
                  </a:lnTo>
                  <a:lnTo>
                    <a:pt x="1360" y="240"/>
                  </a:lnTo>
                  <a:lnTo>
                    <a:pt x="1352" y="238"/>
                  </a:lnTo>
                  <a:lnTo>
                    <a:pt x="1334" y="228"/>
                  </a:lnTo>
                  <a:lnTo>
                    <a:pt x="1320" y="216"/>
                  </a:lnTo>
                  <a:lnTo>
                    <a:pt x="1198" y="0"/>
                  </a:lnTo>
                  <a:lnTo>
                    <a:pt x="400" y="0"/>
                  </a:lnTo>
                  <a:lnTo>
                    <a:pt x="0" y="694"/>
                  </a:lnTo>
                  <a:lnTo>
                    <a:pt x="398" y="1384"/>
                  </a:lnTo>
                  <a:lnTo>
                    <a:pt x="400" y="1382"/>
                  </a:lnTo>
                  <a:lnTo>
                    <a:pt x="674" y="1382"/>
                  </a:lnTo>
                  <a:close/>
                </a:path>
              </a:pathLst>
            </a:custGeom>
            <a:solidFill>
              <a:srgbClr val="20B7EC"/>
            </a:solidFill>
            <a:ln w="38100" cap="flat" cmpd="sng">
              <a:solidFill>
                <a:srgbClr val="5F5F5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E"/>
            </a:p>
          </p:txBody>
        </p:sp>
        <p:sp>
          <p:nvSpPr>
            <p:cNvPr id="29707" name="Text Box 21"/>
            <p:cNvSpPr txBox="1">
              <a:spLocks noChangeArrowheads="1"/>
            </p:cNvSpPr>
            <p:nvPr/>
          </p:nvSpPr>
          <p:spPr bwMode="auto">
            <a:xfrm flipH="1">
              <a:off x="1463" y="1758"/>
              <a:ext cx="890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5F5F5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GB" b="1">
                  <a:solidFill>
                    <a:srgbClr val="000000"/>
                  </a:solidFill>
                  <a:cs typeface="Arial" charset="0"/>
                </a:rPr>
                <a:t>Medic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1629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/>
          </p:nvPr>
        </p:nvSpPr>
        <p:spPr>
          <a:xfrm>
            <a:off x="1258888" y="333375"/>
            <a:ext cx="6877050" cy="936625"/>
          </a:xfrm>
        </p:spPr>
        <p:txBody>
          <a:bodyPr/>
          <a:lstStyle/>
          <a:p>
            <a:pPr eaLnBrk="1" hangingPunct="1"/>
            <a:r>
              <a:rPr lang="en-IE" sz="4000" b="1" dirty="0" smtClean="0">
                <a:solidFill>
                  <a:srgbClr val="091D67"/>
                </a:solidFill>
              </a:rPr>
              <a:t>GS1 Global standards!</a:t>
            </a:r>
            <a:endParaRPr lang="en-GB" sz="4000" b="1" dirty="0" smtClean="0">
              <a:solidFill>
                <a:srgbClr val="091D67"/>
              </a:solidFill>
            </a:endParaRPr>
          </a:p>
        </p:txBody>
      </p:sp>
      <p:grpSp>
        <p:nvGrpSpPr>
          <p:cNvPr id="32771" name="Group 3"/>
          <p:cNvGrpSpPr>
            <a:grpSpLocks/>
          </p:cNvGrpSpPr>
          <p:nvPr/>
        </p:nvGrpSpPr>
        <p:grpSpPr bwMode="auto">
          <a:xfrm>
            <a:off x="3932238" y="1282700"/>
            <a:ext cx="1833562" cy="1508125"/>
            <a:chOff x="2428" y="893"/>
            <a:chExt cx="1155" cy="950"/>
          </a:xfrm>
        </p:grpSpPr>
        <p:sp>
          <p:nvSpPr>
            <p:cNvPr id="32790" name="Freeform 4"/>
            <p:cNvSpPr>
              <a:spLocks/>
            </p:cNvSpPr>
            <p:nvPr/>
          </p:nvSpPr>
          <p:spPr bwMode="auto">
            <a:xfrm>
              <a:off x="2428" y="893"/>
              <a:ext cx="1122" cy="950"/>
            </a:xfrm>
            <a:custGeom>
              <a:avLst/>
              <a:gdLst>
                <a:gd name="T0" fmla="*/ 44 w 1636"/>
                <a:gd name="T1" fmla="*/ 200 h 1386"/>
                <a:gd name="T2" fmla="*/ 47 w 1636"/>
                <a:gd name="T3" fmla="*/ 192 h 1386"/>
                <a:gd name="T4" fmla="*/ 47 w 1636"/>
                <a:gd name="T5" fmla="*/ 184 h 1386"/>
                <a:gd name="T6" fmla="*/ 51 w 1636"/>
                <a:gd name="T7" fmla="*/ 177 h 1386"/>
                <a:gd name="T8" fmla="*/ 58 w 1636"/>
                <a:gd name="T9" fmla="*/ 173 h 1386"/>
                <a:gd name="T10" fmla="*/ 67 w 1636"/>
                <a:gd name="T11" fmla="*/ 175 h 1386"/>
                <a:gd name="T12" fmla="*/ 83 w 1636"/>
                <a:gd name="T13" fmla="*/ 190 h 1386"/>
                <a:gd name="T14" fmla="*/ 90 w 1636"/>
                <a:gd name="T15" fmla="*/ 204 h 1386"/>
                <a:gd name="T16" fmla="*/ 92 w 1636"/>
                <a:gd name="T17" fmla="*/ 217 h 1386"/>
                <a:gd name="T18" fmla="*/ 89 w 1636"/>
                <a:gd name="T19" fmla="*/ 228 h 1386"/>
                <a:gd name="T20" fmla="*/ 84 w 1636"/>
                <a:gd name="T21" fmla="*/ 232 h 1386"/>
                <a:gd name="T22" fmla="*/ 77 w 1636"/>
                <a:gd name="T23" fmla="*/ 234 h 1386"/>
                <a:gd name="T24" fmla="*/ 63 w 1636"/>
                <a:gd name="T25" fmla="*/ 227 h 1386"/>
                <a:gd name="T26" fmla="*/ 55 w 1636"/>
                <a:gd name="T27" fmla="*/ 229 h 1386"/>
                <a:gd name="T28" fmla="*/ 52 w 1636"/>
                <a:gd name="T29" fmla="*/ 234 h 1386"/>
                <a:gd name="T30" fmla="*/ 53 w 1636"/>
                <a:gd name="T31" fmla="*/ 243 h 1386"/>
                <a:gd name="T32" fmla="*/ 88 w 1636"/>
                <a:gd name="T33" fmla="*/ 305 h 1386"/>
                <a:gd name="T34" fmla="*/ 147 w 1636"/>
                <a:gd name="T35" fmla="*/ 306 h 1386"/>
                <a:gd name="T36" fmla="*/ 161 w 1636"/>
                <a:gd name="T37" fmla="*/ 300 h 1386"/>
                <a:gd name="T38" fmla="*/ 163 w 1636"/>
                <a:gd name="T39" fmla="*/ 293 h 1386"/>
                <a:gd name="T40" fmla="*/ 157 w 1636"/>
                <a:gd name="T41" fmla="*/ 284 h 1386"/>
                <a:gd name="T42" fmla="*/ 146 w 1636"/>
                <a:gd name="T43" fmla="*/ 277 h 1386"/>
                <a:gd name="T44" fmla="*/ 145 w 1636"/>
                <a:gd name="T45" fmla="*/ 271 h 1386"/>
                <a:gd name="T46" fmla="*/ 148 w 1636"/>
                <a:gd name="T47" fmla="*/ 262 h 1386"/>
                <a:gd name="T48" fmla="*/ 162 w 1636"/>
                <a:gd name="T49" fmla="*/ 255 h 1386"/>
                <a:gd name="T50" fmla="*/ 176 w 1636"/>
                <a:gd name="T51" fmla="*/ 252 h 1386"/>
                <a:gd name="T52" fmla="*/ 197 w 1636"/>
                <a:gd name="T53" fmla="*/ 256 h 1386"/>
                <a:gd name="T54" fmla="*/ 207 w 1636"/>
                <a:gd name="T55" fmla="*/ 265 h 1386"/>
                <a:gd name="T56" fmla="*/ 208 w 1636"/>
                <a:gd name="T57" fmla="*/ 271 h 1386"/>
                <a:gd name="T58" fmla="*/ 206 w 1636"/>
                <a:gd name="T59" fmla="*/ 279 h 1386"/>
                <a:gd name="T60" fmla="*/ 193 w 1636"/>
                <a:gd name="T61" fmla="*/ 287 h 1386"/>
                <a:gd name="T62" fmla="*/ 191 w 1636"/>
                <a:gd name="T63" fmla="*/ 295 h 1386"/>
                <a:gd name="T64" fmla="*/ 194 w 1636"/>
                <a:gd name="T65" fmla="*/ 301 h 1386"/>
                <a:gd name="T66" fmla="*/ 264 w 1636"/>
                <a:gd name="T67" fmla="*/ 306 h 1386"/>
                <a:gd name="T68" fmla="*/ 265 w 1636"/>
                <a:gd name="T69" fmla="*/ 304 h 1386"/>
                <a:gd name="T70" fmla="*/ 296 w 1636"/>
                <a:gd name="T71" fmla="*/ 252 h 1386"/>
                <a:gd name="T72" fmla="*/ 309 w 1636"/>
                <a:gd name="T73" fmla="*/ 244 h 1386"/>
                <a:gd name="T74" fmla="*/ 314 w 1636"/>
                <a:gd name="T75" fmla="*/ 246 h 1386"/>
                <a:gd name="T76" fmla="*/ 318 w 1636"/>
                <a:gd name="T77" fmla="*/ 254 h 1386"/>
                <a:gd name="T78" fmla="*/ 320 w 1636"/>
                <a:gd name="T79" fmla="*/ 267 h 1386"/>
                <a:gd name="T80" fmla="*/ 324 w 1636"/>
                <a:gd name="T81" fmla="*/ 271 h 1386"/>
                <a:gd name="T82" fmla="*/ 333 w 1636"/>
                <a:gd name="T83" fmla="*/ 273 h 1386"/>
                <a:gd name="T84" fmla="*/ 346 w 1636"/>
                <a:gd name="T85" fmla="*/ 265 h 1386"/>
                <a:gd name="T86" fmla="*/ 356 w 1636"/>
                <a:gd name="T87" fmla="*/ 254 h 1386"/>
                <a:gd name="T88" fmla="*/ 361 w 1636"/>
                <a:gd name="T89" fmla="*/ 241 h 1386"/>
                <a:gd name="T90" fmla="*/ 361 w 1636"/>
                <a:gd name="T91" fmla="*/ 226 h 1386"/>
                <a:gd name="T92" fmla="*/ 355 w 1636"/>
                <a:gd name="T93" fmla="*/ 219 h 1386"/>
                <a:gd name="T94" fmla="*/ 348 w 1636"/>
                <a:gd name="T95" fmla="*/ 217 h 1386"/>
                <a:gd name="T96" fmla="*/ 335 w 1636"/>
                <a:gd name="T97" fmla="*/ 223 h 1386"/>
                <a:gd name="T98" fmla="*/ 326 w 1636"/>
                <a:gd name="T99" fmla="*/ 222 h 1386"/>
                <a:gd name="T100" fmla="*/ 322 w 1636"/>
                <a:gd name="T101" fmla="*/ 217 h 1386"/>
                <a:gd name="T102" fmla="*/ 324 w 1636"/>
                <a:gd name="T103" fmla="*/ 204 h 1386"/>
                <a:gd name="T104" fmla="*/ 350 w 1636"/>
                <a:gd name="T105" fmla="*/ 147 h 1386"/>
                <a:gd name="T106" fmla="*/ 71 w 1636"/>
                <a:gd name="T107" fmla="*/ 29 h 1386"/>
                <a:gd name="T108" fmla="*/ 29 w 1636"/>
                <a:gd name="T109" fmla="*/ 199 h 1386"/>
                <a:gd name="T110" fmla="*/ 39 w 1636"/>
                <a:gd name="T111" fmla="*/ 204 h 138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36" h="1386">
                  <a:moveTo>
                    <a:pt x="184" y="918"/>
                  </a:moveTo>
                  <a:lnTo>
                    <a:pt x="184" y="918"/>
                  </a:lnTo>
                  <a:lnTo>
                    <a:pt x="192" y="912"/>
                  </a:lnTo>
                  <a:lnTo>
                    <a:pt x="198" y="906"/>
                  </a:lnTo>
                  <a:lnTo>
                    <a:pt x="204" y="900"/>
                  </a:lnTo>
                  <a:lnTo>
                    <a:pt x="208" y="894"/>
                  </a:lnTo>
                  <a:lnTo>
                    <a:pt x="212" y="882"/>
                  </a:lnTo>
                  <a:lnTo>
                    <a:pt x="214" y="868"/>
                  </a:lnTo>
                  <a:lnTo>
                    <a:pt x="212" y="850"/>
                  </a:lnTo>
                  <a:lnTo>
                    <a:pt x="214" y="834"/>
                  </a:lnTo>
                  <a:lnTo>
                    <a:pt x="216" y="820"/>
                  </a:lnTo>
                  <a:lnTo>
                    <a:pt x="220" y="812"/>
                  </a:lnTo>
                  <a:lnTo>
                    <a:pt x="224" y="806"/>
                  </a:lnTo>
                  <a:lnTo>
                    <a:pt x="232" y="800"/>
                  </a:lnTo>
                  <a:lnTo>
                    <a:pt x="240" y="794"/>
                  </a:lnTo>
                  <a:lnTo>
                    <a:pt x="250" y="788"/>
                  </a:lnTo>
                  <a:lnTo>
                    <a:pt x="260" y="786"/>
                  </a:lnTo>
                  <a:lnTo>
                    <a:pt x="270" y="786"/>
                  </a:lnTo>
                  <a:lnTo>
                    <a:pt x="282" y="786"/>
                  </a:lnTo>
                  <a:lnTo>
                    <a:pt x="292" y="790"/>
                  </a:lnTo>
                  <a:lnTo>
                    <a:pt x="302" y="794"/>
                  </a:lnTo>
                  <a:lnTo>
                    <a:pt x="324" y="808"/>
                  </a:lnTo>
                  <a:lnTo>
                    <a:pt x="344" y="824"/>
                  </a:lnTo>
                  <a:lnTo>
                    <a:pt x="360" y="842"/>
                  </a:lnTo>
                  <a:lnTo>
                    <a:pt x="374" y="860"/>
                  </a:lnTo>
                  <a:lnTo>
                    <a:pt x="384" y="876"/>
                  </a:lnTo>
                  <a:lnTo>
                    <a:pt x="396" y="898"/>
                  </a:lnTo>
                  <a:lnTo>
                    <a:pt x="406" y="924"/>
                  </a:lnTo>
                  <a:lnTo>
                    <a:pt x="412" y="954"/>
                  </a:lnTo>
                  <a:lnTo>
                    <a:pt x="414" y="968"/>
                  </a:lnTo>
                  <a:lnTo>
                    <a:pt x="414" y="982"/>
                  </a:lnTo>
                  <a:lnTo>
                    <a:pt x="414" y="1004"/>
                  </a:lnTo>
                  <a:lnTo>
                    <a:pt x="412" y="1014"/>
                  </a:lnTo>
                  <a:lnTo>
                    <a:pt x="408" y="1022"/>
                  </a:lnTo>
                  <a:lnTo>
                    <a:pt x="404" y="1032"/>
                  </a:lnTo>
                  <a:lnTo>
                    <a:pt x="398" y="1038"/>
                  </a:lnTo>
                  <a:lnTo>
                    <a:pt x="392" y="1046"/>
                  </a:lnTo>
                  <a:lnTo>
                    <a:pt x="384" y="1050"/>
                  </a:lnTo>
                  <a:lnTo>
                    <a:pt x="374" y="1056"/>
                  </a:lnTo>
                  <a:lnTo>
                    <a:pt x="364" y="1058"/>
                  </a:lnTo>
                  <a:lnTo>
                    <a:pt x="354" y="1058"/>
                  </a:lnTo>
                  <a:lnTo>
                    <a:pt x="346" y="1058"/>
                  </a:lnTo>
                  <a:lnTo>
                    <a:pt x="330" y="1052"/>
                  </a:lnTo>
                  <a:lnTo>
                    <a:pt x="316" y="1042"/>
                  </a:lnTo>
                  <a:lnTo>
                    <a:pt x="302" y="1034"/>
                  </a:lnTo>
                  <a:lnTo>
                    <a:pt x="286" y="1028"/>
                  </a:lnTo>
                  <a:lnTo>
                    <a:pt x="278" y="1028"/>
                  </a:lnTo>
                  <a:lnTo>
                    <a:pt x="268" y="1028"/>
                  </a:lnTo>
                  <a:lnTo>
                    <a:pt x="258" y="1032"/>
                  </a:lnTo>
                  <a:lnTo>
                    <a:pt x="248" y="1036"/>
                  </a:lnTo>
                  <a:lnTo>
                    <a:pt x="242" y="1042"/>
                  </a:lnTo>
                  <a:lnTo>
                    <a:pt x="238" y="1048"/>
                  </a:lnTo>
                  <a:lnTo>
                    <a:pt x="236" y="1058"/>
                  </a:lnTo>
                  <a:lnTo>
                    <a:pt x="234" y="1068"/>
                  </a:lnTo>
                  <a:lnTo>
                    <a:pt x="236" y="1086"/>
                  </a:lnTo>
                  <a:lnTo>
                    <a:pt x="240" y="1102"/>
                  </a:lnTo>
                  <a:lnTo>
                    <a:pt x="398" y="1378"/>
                  </a:lnTo>
                  <a:lnTo>
                    <a:pt x="402" y="1378"/>
                  </a:lnTo>
                  <a:lnTo>
                    <a:pt x="402" y="1380"/>
                  </a:lnTo>
                  <a:lnTo>
                    <a:pt x="400" y="1382"/>
                  </a:lnTo>
                  <a:lnTo>
                    <a:pt x="402" y="1386"/>
                  </a:lnTo>
                  <a:lnTo>
                    <a:pt x="664" y="1386"/>
                  </a:lnTo>
                  <a:lnTo>
                    <a:pt x="686" y="1380"/>
                  </a:lnTo>
                  <a:lnTo>
                    <a:pt x="708" y="1368"/>
                  </a:lnTo>
                  <a:lnTo>
                    <a:pt x="718" y="1362"/>
                  </a:lnTo>
                  <a:lnTo>
                    <a:pt x="726" y="1356"/>
                  </a:lnTo>
                  <a:lnTo>
                    <a:pt x="732" y="1346"/>
                  </a:lnTo>
                  <a:lnTo>
                    <a:pt x="734" y="1338"/>
                  </a:lnTo>
                  <a:lnTo>
                    <a:pt x="734" y="1326"/>
                  </a:lnTo>
                  <a:lnTo>
                    <a:pt x="730" y="1316"/>
                  </a:lnTo>
                  <a:lnTo>
                    <a:pt x="728" y="1308"/>
                  </a:lnTo>
                  <a:lnTo>
                    <a:pt x="722" y="1302"/>
                  </a:lnTo>
                  <a:lnTo>
                    <a:pt x="710" y="1290"/>
                  </a:lnTo>
                  <a:lnTo>
                    <a:pt x="694" y="1282"/>
                  </a:lnTo>
                  <a:lnTo>
                    <a:pt x="680" y="1274"/>
                  </a:lnTo>
                  <a:lnTo>
                    <a:pt x="668" y="1264"/>
                  </a:lnTo>
                  <a:lnTo>
                    <a:pt x="662" y="1256"/>
                  </a:lnTo>
                  <a:lnTo>
                    <a:pt x="658" y="1248"/>
                  </a:lnTo>
                  <a:lnTo>
                    <a:pt x="656" y="1240"/>
                  </a:lnTo>
                  <a:lnTo>
                    <a:pt x="654" y="1228"/>
                  </a:lnTo>
                  <a:lnTo>
                    <a:pt x="656" y="1216"/>
                  </a:lnTo>
                  <a:lnTo>
                    <a:pt x="658" y="1206"/>
                  </a:lnTo>
                  <a:lnTo>
                    <a:pt x="664" y="1198"/>
                  </a:lnTo>
                  <a:lnTo>
                    <a:pt x="670" y="1188"/>
                  </a:lnTo>
                  <a:lnTo>
                    <a:pt x="678" y="1180"/>
                  </a:lnTo>
                  <a:lnTo>
                    <a:pt x="688" y="1174"/>
                  </a:lnTo>
                  <a:lnTo>
                    <a:pt x="708" y="1162"/>
                  </a:lnTo>
                  <a:lnTo>
                    <a:pt x="732" y="1154"/>
                  </a:lnTo>
                  <a:lnTo>
                    <a:pt x="756" y="1148"/>
                  </a:lnTo>
                  <a:lnTo>
                    <a:pt x="780" y="1144"/>
                  </a:lnTo>
                  <a:lnTo>
                    <a:pt x="798" y="1144"/>
                  </a:lnTo>
                  <a:lnTo>
                    <a:pt x="818" y="1144"/>
                  </a:lnTo>
                  <a:lnTo>
                    <a:pt x="840" y="1148"/>
                  </a:lnTo>
                  <a:lnTo>
                    <a:pt x="864" y="1154"/>
                  </a:lnTo>
                  <a:lnTo>
                    <a:pt x="888" y="1162"/>
                  </a:lnTo>
                  <a:lnTo>
                    <a:pt x="910" y="1174"/>
                  </a:lnTo>
                  <a:lnTo>
                    <a:pt x="918" y="1180"/>
                  </a:lnTo>
                  <a:lnTo>
                    <a:pt x="926" y="1188"/>
                  </a:lnTo>
                  <a:lnTo>
                    <a:pt x="934" y="1198"/>
                  </a:lnTo>
                  <a:lnTo>
                    <a:pt x="938" y="1206"/>
                  </a:lnTo>
                  <a:lnTo>
                    <a:pt x="942" y="1216"/>
                  </a:lnTo>
                  <a:lnTo>
                    <a:pt x="942" y="1228"/>
                  </a:lnTo>
                  <a:lnTo>
                    <a:pt x="942" y="1240"/>
                  </a:lnTo>
                  <a:lnTo>
                    <a:pt x="938" y="1248"/>
                  </a:lnTo>
                  <a:lnTo>
                    <a:pt x="934" y="1256"/>
                  </a:lnTo>
                  <a:lnTo>
                    <a:pt x="930" y="1264"/>
                  </a:lnTo>
                  <a:lnTo>
                    <a:pt x="916" y="1274"/>
                  </a:lnTo>
                  <a:lnTo>
                    <a:pt x="902" y="1282"/>
                  </a:lnTo>
                  <a:lnTo>
                    <a:pt x="888" y="1290"/>
                  </a:lnTo>
                  <a:lnTo>
                    <a:pt x="874" y="1302"/>
                  </a:lnTo>
                  <a:lnTo>
                    <a:pt x="870" y="1308"/>
                  </a:lnTo>
                  <a:lnTo>
                    <a:pt x="866" y="1316"/>
                  </a:lnTo>
                  <a:lnTo>
                    <a:pt x="864" y="1326"/>
                  </a:lnTo>
                  <a:lnTo>
                    <a:pt x="862" y="1338"/>
                  </a:lnTo>
                  <a:lnTo>
                    <a:pt x="864" y="1346"/>
                  </a:lnTo>
                  <a:lnTo>
                    <a:pt x="870" y="1356"/>
                  </a:lnTo>
                  <a:lnTo>
                    <a:pt x="878" y="1362"/>
                  </a:lnTo>
                  <a:lnTo>
                    <a:pt x="888" y="1368"/>
                  </a:lnTo>
                  <a:lnTo>
                    <a:pt x="912" y="1380"/>
                  </a:lnTo>
                  <a:lnTo>
                    <a:pt x="934" y="1386"/>
                  </a:lnTo>
                  <a:lnTo>
                    <a:pt x="1194" y="1386"/>
                  </a:lnTo>
                  <a:lnTo>
                    <a:pt x="1198" y="1380"/>
                  </a:lnTo>
                  <a:lnTo>
                    <a:pt x="1198" y="1378"/>
                  </a:lnTo>
                  <a:lnTo>
                    <a:pt x="1202" y="1378"/>
                  </a:lnTo>
                  <a:lnTo>
                    <a:pt x="1204" y="1372"/>
                  </a:lnTo>
                  <a:lnTo>
                    <a:pt x="1240" y="1310"/>
                  </a:lnTo>
                  <a:lnTo>
                    <a:pt x="1340" y="1138"/>
                  </a:lnTo>
                  <a:lnTo>
                    <a:pt x="1356" y="1124"/>
                  </a:lnTo>
                  <a:lnTo>
                    <a:pt x="1376" y="1112"/>
                  </a:lnTo>
                  <a:lnTo>
                    <a:pt x="1384" y="1108"/>
                  </a:lnTo>
                  <a:lnTo>
                    <a:pt x="1394" y="1104"/>
                  </a:lnTo>
                  <a:lnTo>
                    <a:pt x="1402" y="1104"/>
                  </a:lnTo>
                  <a:lnTo>
                    <a:pt x="1410" y="1108"/>
                  </a:lnTo>
                  <a:lnTo>
                    <a:pt x="1420" y="1114"/>
                  </a:lnTo>
                  <a:lnTo>
                    <a:pt x="1426" y="1122"/>
                  </a:lnTo>
                  <a:lnTo>
                    <a:pt x="1432" y="1128"/>
                  </a:lnTo>
                  <a:lnTo>
                    <a:pt x="1436" y="1136"/>
                  </a:lnTo>
                  <a:lnTo>
                    <a:pt x="1438" y="1152"/>
                  </a:lnTo>
                  <a:lnTo>
                    <a:pt x="1438" y="1170"/>
                  </a:lnTo>
                  <a:lnTo>
                    <a:pt x="1438" y="1186"/>
                  </a:lnTo>
                  <a:lnTo>
                    <a:pt x="1440" y="1202"/>
                  </a:lnTo>
                  <a:lnTo>
                    <a:pt x="1444" y="1210"/>
                  </a:lnTo>
                  <a:lnTo>
                    <a:pt x="1448" y="1218"/>
                  </a:lnTo>
                  <a:lnTo>
                    <a:pt x="1456" y="1226"/>
                  </a:lnTo>
                  <a:lnTo>
                    <a:pt x="1466" y="1232"/>
                  </a:lnTo>
                  <a:lnTo>
                    <a:pt x="1476" y="1236"/>
                  </a:lnTo>
                  <a:lnTo>
                    <a:pt x="1486" y="1240"/>
                  </a:lnTo>
                  <a:lnTo>
                    <a:pt x="1496" y="1240"/>
                  </a:lnTo>
                  <a:lnTo>
                    <a:pt x="1506" y="1238"/>
                  </a:lnTo>
                  <a:lnTo>
                    <a:pt x="1518" y="1234"/>
                  </a:lnTo>
                  <a:lnTo>
                    <a:pt x="1528" y="1230"/>
                  </a:lnTo>
                  <a:lnTo>
                    <a:pt x="1550" y="1218"/>
                  </a:lnTo>
                  <a:lnTo>
                    <a:pt x="1568" y="1202"/>
                  </a:lnTo>
                  <a:lnTo>
                    <a:pt x="1586" y="1184"/>
                  </a:lnTo>
                  <a:lnTo>
                    <a:pt x="1600" y="1166"/>
                  </a:lnTo>
                  <a:lnTo>
                    <a:pt x="1610" y="1150"/>
                  </a:lnTo>
                  <a:lnTo>
                    <a:pt x="1618" y="1132"/>
                  </a:lnTo>
                  <a:lnTo>
                    <a:pt x="1628" y="1112"/>
                  </a:lnTo>
                  <a:lnTo>
                    <a:pt x="1632" y="1094"/>
                  </a:lnTo>
                  <a:lnTo>
                    <a:pt x="1636" y="1076"/>
                  </a:lnTo>
                  <a:lnTo>
                    <a:pt x="1636" y="1060"/>
                  </a:lnTo>
                  <a:lnTo>
                    <a:pt x="1636" y="1042"/>
                  </a:lnTo>
                  <a:lnTo>
                    <a:pt x="1634" y="1026"/>
                  </a:lnTo>
                  <a:lnTo>
                    <a:pt x="1628" y="1012"/>
                  </a:lnTo>
                  <a:lnTo>
                    <a:pt x="1618" y="1000"/>
                  </a:lnTo>
                  <a:lnTo>
                    <a:pt x="1606" y="990"/>
                  </a:lnTo>
                  <a:lnTo>
                    <a:pt x="1596" y="986"/>
                  </a:lnTo>
                  <a:lnTo>
                    <a:pt x="1586" y="984"/>
                  </a:lnTo>
                  <a:lnTo>
                    <a:pt x="1578" y="982"/>
                  </a:lnTo>
                  <a:lnTo>
                    <a:pt x="1570" y="984"/>
                  </a:lnTo>
                  <a:lnTo>
                    <a:pt x="1554" y="990"/>
                  </a:lnTo>
                  <a:lnTo>
                    <a:pt x="1540" y="998"/>
                  </a:lnTo>
                  <a:lnTo>
                    <a:pt x="1524" y="1006"/>
                  </a:lnTo>
                  <a:lnTo>
                    <a:pt x="1510" y="1012"/>
                  </a:lnTo>
                  <a:lnTo>
                    <a:pt x="1500" y="1014"/>
                  </a:lnTo>
                  <a:lnTo>
                    <a:pt x="1492" y="1012"/>
                  </a:lnTo>
                  <a:lnTo>
                    <a:pt x="1482" y="1010"/>
                  </a:lnTo>
                  <a:lnTo>
                    <a:pt x="1472" y="1004"/>
                  </a:lnTo>
                  <a:lnTo>
                    <a:pt x="1464" y="1000"/>
                  </a:lnTo>
                  <a:lnTo>
                    <a:pt x="1460" y="992"/>
                  </a:lnTo>
                  <a:lnTo>
                    <a:pt x="1458" y="982"/>
                  </a:lnTo>
                  <a:lnTo>
                    <a:pt x="1458" y="972"/>
                  </a:lnTo>
                  <a:lnTo>
                    <a:pt x="1458" y="950"/>
                  </a:lnTo>
                  <a:lnTo>
                    <a:pt x="1462" y="928"/>
                  </a:lnTo>
                  <a:lnTo>
                    <a:pt x="1464" y="926"/>
                  </a:lnTo>
                  <a:lnTo>
                    <a:pt x="1466" y="920"/>
                  </a:lnTo>
                  <a:lnTo>
                    <a:pt x="1598" y="692"/>
                  </a:lnTo>
                  <a:lnTo>
                    <a:pt x="1582" y="668"/>
                  </a:lnTo>
                  <a:lnTo>
                    <a:pt x="1584" y="668"/>
                  </a:lnTo>
                  <a:lnTo>
                    <a:pt x="1198" y="0"/>
                  </a:lnTo>
                  <a:lnTo>
                    <a:pt x="398" y="0"/>
                  </a:lnTo>
                  <a:lnTo>
                    <a:pt x="322" y="132"/>
                  </a:lnTo>
                  <a:lnTo>
                    <a:pt x="0" y="690"/>
                  </a:lnTo>
                  <a:lnTo>
                    <a:pt x="116" y="888"/>
                  </a:lnTo>
                  <a:lnTo>
                    <a:pt x="132" y="902"/>
                  </a:lnTo>
                  <a:lnTo>
                    <a:pt x="150" y="914"/>
                  </a:lnTo>
                  <a:lnTo>
                    <a:pt x="160" y="918"/>
                  </a:lnTo>
                  <a:lnTo>
                    <a:pt x="168" y="920"/>
                  </a:lnTo>
                  <a:lnTo>
                    <a:pt x="176" y="920"/>
                  </a:lnTo>
                  <a:lnTo>
                    <a:pt x="184" y="918"/>
                  </a:lnTo>
                  <a:close/>
                </a:path>
              </a:pathLst>
            </a:custGeom>
            <a:solidFill>
              <a:srgbClr val="438DEF"/>
            </a:solidFill>
            <a:ln w="38100" cap="flat" cmpd="sng">
              <a:solidFill>
                <a:srgbClr val="5F5F5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E"/>
            </a:p>
          </p:txBody>
        </p:sp>
        <p:sp>
          <p:nvSpPr>
            <p:cNvPr id="32791" name="Text Box 5"/>
            <p:cNvSpPr txBox="1">
              <a:spLocks noChangeArrowheads="1"/>
            </p:cNvSpPr>
            <p:nvPr/>
          </p:nvSpPr>
          <p:spPr bwMode="auto">
            <a:xfrm>
              <a:off x="2428" y="1221"/>
              <a:ext cx="1155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5F5F5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IE" b="1">
                  <a:solidFill>
                    <a:srgbClr val="000000"/>
                  </a:solidFill>
                  <a:cs typeface="Arial" charset="0"/>
                </a:rPr>
                <a:t>Manufacturer</a:t>
              </a:r>
              <a:endParaRPr lang="en-GB" b="1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32772" name="Group 6"/>
          <p:cNvGrpSpPr>
            <a:grpSpLocks/>
          </p:cNvGrpSpPr>
          <p:nvPr/>
        </p:nvGrpSpPr>
        <p:grpSpPr bwMode="auto">
          <a:xfrm>
            <a:off x="5226050" y="2036763"/>
            <a:ext cx="1739900" cy="1765300"/>
            <a:chOff x="3632" y="1479"/>
            <a:chExt cx="1096" cy="1112"/>
          </a:xfrm>
        </p:grpSpPr>
        <p:sp>
          <p:nvSpPr>
            <p:cNvPr id="32788" name="Freeform 7"/>
            <p:cNvSpPr>
              <a:spLocks/>
            </p:cNvSpPr>
            <p:nvPr/>
          </p:nvSpPr>
          <p:spPr bwMode="auto">
            <a:xfrm>
              <a:off x="3632" y="1479"/>
              <a:ext cx="1096" cy="1112"/>
            </a:xfrm>
            <a:custGeom>
              <a:avLst/>
              <a:gdLst>
                <a:gd name="T0" fmla="*/ 58 w 1600"/>
                <a:gd name="T1" fmla="*/ 58 h 1624"/>
                <a:gd name="T2" fmla="*/ 63 w 1600"/>
                <a:gd name="T3" fmla="*/ 69 h 1624"/>
                <a:gd name="T4" fmla="*/ 82 w 1600"/>
                <a:gd name="T5" fmla="*/ 64 h 1624"/>
                <a:gd name="T6" fmla="*/ 93 w 1600"/>
                <a:gd name="T7" fmla="*/ 68 h 1624"/>
                <a:gd name="T8" fmla="*/ 95 w 1600"/>
                <a:gd name="T9" fmla="*/ 94 h 1624"/>
                <a:gd name="T10" fmla="*/ 82 w 1600"/>
                <a:gd name="T11" fmla="*/ 115 h 1624"/>
                <a:gd name="T12" fmla="*/ 60 w 1600"/>
                <a:gd name="T13" fmla="*/ 123 h 1624"/>
                <a:gd name="T14" fmla="*/ 53 w 1600"/>
                <a:gd name="T15" fmla="*/ 112 h 1624"/>
                <a:gd name="T16" fmla="*/ 47 w 1600"/>
                <a:gd name="T17" fmla="*/ 94 h 1624"/>
                <a:gd name="T18" fmla="*/ 31 w 1600"/>
                <a:gd name="T19" fmla="*/ 101 h 1624"/>
                <a:gd name="T20" fmla="*/ 31 w 1600"/>
                <a:gd name="T21" fmla="*/ 205 h 1624"/>
                <a:gd name="T22" fmla="*/ 47 w 1600"/>
                <a:gd name="T23" fmla="*/ 213 h 1624"/>
                <a:gd name="T24" fmla="*/ 53 w 1600"/>
                <a:gd name="T25" fmla="*/ 199 h 1624"/>
                <a:gd name="T26" fmla="*/ 59 w 1600"/>
                <a:gd name="T27" fmla="*/ 186 h 1624"/>
                <a:gd name="T28" fmla="*/ 77 w 1600"/>
                <a:gd name="T29" fmla="*/ 188 h 1624"/>
                <a:gd name="T30" fmla="*/ 95 w 1600"/>
                <a:gd name="T31" fmla="*/ 212 h 1624"/>
                <a:gd name="T32" fmla="*/ 95 w 1600"/>
                <a:gd name="T33" fmla="*/ 237 h 1624"/>
                <a:gd name="T34" fmla="*/ 83 w 1600"/>
                <a:gd name="T35" fmla="*/ 242 h 1624"/>
                <a:gd name="T36" fmla="*/ 63 w 1600"/>
                <a:gd name="T37" fmla="*/ 236 h 1624"/>
                <a:gd name="T38" fmla="*/ 59 w 1600"/>
                <a:gd name="T39" fmla="*/ 250 h 1624"/>
                <a:gd name="T40" fmla="*/ 147 w 1600"/>
                <a:gd name="T41" fmla="*/ 305 h 1624"/>
                <a:gd name="T42" fmla="*/ 151 w 1600"/>
                <a:gd name="T43" fmla="*/ 306 h 1624"/>
                <a:gd name="T44" fmla="*/ 153 w 1600"/>
                <a:gd name="T45" fmla="*/ 307 h 1624"/>
                <a:gd name="T46" fmla="*/ 155 w 1600"/>
                <a:gd name="T47" fmla="*/ 308 h 1624"/>
                <a:gd name="T48" fmla="*/ 157 w 1600"/>
                <a:gd name="T49" fmla="*/ 310 h 1624"/>
                <a:gd name="T50" fmla="*/ 159 w 1600"/>
                <a:gd name="T51" fmla="*/ 311 h 1624"/>
                <a:gd name="T52" fmla="*/ 160 w 1600"/>
                <a:gd name="T53" fmla="*/ 313 h 1624"/>
                <a:gd name="T54" fmla="*/ 160 w 1600"/>
                <a:gd name="T55" fmla="*/ 314 h 1624"/>
                <a:gd name="T56" fmla="*/ 160 w 1600"/>
                <a:gd name="T57" fmla="*/ 316 h 1624"/>
                <a:gd name="T58" fmla="*/ 160 w 1600"/>
                <a:gd name="T59" fmla="*/ 318 h 1624"/>
                <a:gd name="T60" fmla="*/ 155 w 1600"/>
                <a:gd name="T61" fmla="*/ 325 h 1624"/>
                <a:gd name="T62" fmla="*/ 148 w 1600"/>
                <a:gd name="T63" fmla="*/ 328 h 1624"/>
                <a:gd name="T64" fmla="*/ 145 w 1600"/>
                <a:gd name="T65" fmla="*/ 331 h 1624"/>
                <a:gd name="T66" fmla="*/ 144 w 1600"/>
                <a:gd name="T67" fmla="*/ 333 h 1624"/>
                <a:gd name="T68" fmla="*/ 142 w 1600"/>
                <a:gd name="T69" fmla="*/ 337 h 1624"/>
                <a:gd name="T70" fmla="*/ 143 w 1600"/>
                <a:gd name="T71" fmla="*/ 344 h 1624"/>
                <a:gd name="T72" fmla="*/ 164 w 1600"/>
                <a:gd name="T73" fmla="*/ 356 h 1624"/>
                <a:gd name="T74" fmla="*/ 194 w 1600"/>
                <a:gd name="T75" fmla="*/ 353 h 1624"/>
                <a:gd name="T76" fmla="*/ 206 w 1600"/>
                <a:gd name="T77" fmla="*/ 338 h 1624"/>
                <a:gd name="T78" fmla="*/ 205 w 1600"/>
                <a:gd name="T79" fmla="*/ 334 h 1624"/>
                <a:gd name="T80" fmla="*/ 203 w 1600"/>
                <a:gd name="T81" fmla="*/ 331 h 1624"/>
                <a:gd name="T82" fmla="*/ 202 w 1600"/>
                <a:gd name="T83" fmla="*/ 330 h 1624"/>
                <a:gd name="T84" fmla="*/ 199 w 1600"/>
                <a:gd name="T85" fmla="*/ 328 h 1624"/>
                <a:gd name="T86" fmla="*/ 190 w 1600"/>
                <a:gd name="T87" fmla="*/ 321 h 1624"/>
                <a:gd name="T88" fmla="*/ 188 w 1600"/>
                <a:gd name="T89" fmla="*/ 318 h 1624"/>
                <a:gd name="T90" fmla="*/ 188 w 1600"/>
                <a:gd name="T91" fmla="*/ 316 h 1624"/>
                <a:gd name="T92" fmla="*/ 188 w 1600"/>
                <a:gd name="T93" fmla="*/ 314 h 1624"/>
                <a:gd name="T94" fmla="*/ 188 w 1600"/>
                <a:gd name="T95" fmla="*/ 313 h 1624"/>
                <a:gd name="T96" fmla="*/ 189 w 1600"/>
                <a:gd name="T97" fmla="*/ 312 h 1624"/>
                <a:gd name="T98" fmla="*/ 190 w 1600"/>
                <a:gd name="T99" fmla="*/ 310 h 1624"/>
                <a:gd name="T100" fmla="*/ 192 w 1600"/>
                <a:gd name="T101" fmla="*/ 308 h 1624"/>
                <a:gd name="T102" fmla="*/ 195 w 1600"/>
                <a:gd name="T103" fmla="*/ 307 h 1624"/>
                <a:gd name="T104" fmla="*/ 197 w 1600"/>
                <a:gd name="T105" fmla="*/ 307 h 1624"/>
                <a:gd name="T106" fmla="*/ 201 w 1600"/>
                <a:gd name="T107" fmla="*/ 305 h 1624"/>
                <a:gd name="T108" fmla="*/ 264 w 1600"/>
                <a:gd name="T109" fmla="*/ 0 h 16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00" h="1624">
                  <a:moveTo>
                    <a:pt x="1200" y="0"/>
                  </a:moveTo>
                  <a:lnTo>
                    <a:pt x="402" y="0"/>
                  </a:lnTo>
                  <a:lnTo>
                    <a:pt x="400" y="6"/>
                  </a:lnTo>
                  <a:lnTo>
                    <a:pt x="400" y="8"/>
                  </a:lnTo>
                  <a:lnTo>
                    <a:pt x="266" y="240"/>
                  </a:lnTo>
                  <a:lnTo>
                    <a:pt x="262" y="260"/>
                  </a:lnTo>
                  <a:lnTo>
                    <a:pt x="262" y="282"/>
                  </a:lnTo>
                  <a:lnTo>
                    <a:pt x="264" y="290"/>
                  </a:lnTo>
                  <a:lnTo>
                    <a:pt x="266" y="298"/>
                  </a:lnTo>
                  <a:lnTo>
                    <a:pt x="270" y="306"/>
                  </a:lnTo>
                  <a:lnTo>
                    <a:pt x="276" y="310"/>
                  </a:lnTo>
                  <a:lnTo>
                    <a:pt x="286" y="316"/>
                  </a:lnTo>
                  <a:lnTo>
                    <a:pt x="296" y="318"/>
                  </a:lnTo>
                  <a:lnTo>
                    <a:pt x="306" y="320"/>
                  </a:lnTo>
                  <a:lnTo>
                    <a:pt x="314" y="318"/>
                  </a:lnTo>
                  <a:lnTo>
                    <a:pt x="330" y="312"/>
                  </a:lnTo>
                  <a:lnTo>
                    <a:pt x="344" y="304"/>
                  </a:lnTo>
                  <a:lnTo>
                    <a:pt x="358" y="296"/>
                  </a:lnTo>
                  <a:lnTo>
                    <a:pt x="374" y="290"/>
                  </a:lnTo>
                  <a:lnTo>
                    <a:pt x="382" y="288"/>
                  </a:lnTo>
                  <a:lnTo>
                    <a:pt x="392" y="290"/>
                  </a:lnTo>
                  <a:lnTo>
                    <a:pt x="400" y="292"/>
                  </a:lnTo>
                  <a:lnTo>
                    <a:pt x="412" y="296"/>
                  </a:lnTo>
                  <a:lnTo>
                    <a:pt x="418" y="302"/>
                  </a:lnTo>
                  <a:lnTo>
                    <a:pt x="424" y="306"/>
                  </a:lnTo>
                  <a:lnTo>
                    <a:pt x="434" y="320"/>
                  </a:lnTo>
                  <a:lnTo>
                    <a:pt x="438" y="336"/>
                  </a:lnTo>
                  <a:lnTo>
                    <a:pt x="442" y="352"/>
                  </a:lnTo>
                  <a:lnTo>
                    <a:pt x="442" y="370"/>
                  </a:lnTo>
                  <a:lnTo>
                    <a:pt x="438" y="390"/>
                  </a:lnTo>
                  <a:lnTo>
                    <a:pt x="434" y="408"/>
                  </a:lnTo>
                  <a:lnTo>
                    <a:pt x="430" y="426"/>
                  </a:lnTo>
                  <a:lnTo>
                    <a:pt x="420" y="450"/>
                  </a:lnTo>
                  <a:lnTo>
                    <a:pt x="410" y="472"/>
                  </a:lnTo>
                  <a:lnTo>
                    <a:pt x="398" y="488"/>
                  </a:lnTo>
                  <a:lnTo>
                    <a:pt x="384" y="506"/>
                  </a:lnTo>
                  <a:lnTo>
                    <a:pt x="368" y="524"/>
                  </a:lnTo>
                  <a:lnTo>
                    <a:pt x="348" y="540"/>
                  </a:lnTo>
                  <a:lnTo>
                    <a:pt x="328" y="552"/>
                  </a:lnTo>
                  <a:lnTo>
                    <a:pt x="318" y="556"/>
                  </a:lnTo>
                  <a:lnTo>
                    <a:pt x="306" y="560"/>
                  </a:lnTo>
                  <a:lnTo>
                    <a:pt x="296" y="562"/>
                  </a:lnTo>
                  <a:lnTo>
                    <a:pt x="284" y="562"/>
                  </a:lnTo>
                  <a:lnTo>
                    <a:pt x="274" y="558"/>
                  </a:lnTo>
                  <a:lnTo>
                    <a:pt x="264" y="554"/>
                  </a:lnTo>
                  <a:lnTo>
                    <a:pt x="256" y="548"/>
                  </a:lnTo>
                  <a:lnTo>
                    <a:pt x="248" y="540"/>
                  </a:lnTo>
                  <a:lnTo>
                    <a:pt x="244" y="532"/>
                  </a:lnTo>
                  <a:lnTo>
                    <a:pt x="240" y="524"/>
                  </a:lnTo>
                  <a:lnTo>
                    <a:pt x="238" y="508"/>
                  </a:lnTo>
                  <a:lnTo>
                    <a:pt x="238" y="492"/>
                  </a:lnTo>
                  <a:lnTo>
                    <a:pt x="238" y="474"/>
                  </a:lnTo>
                  <a:lnTo>
                    <a:pt x="234" y="458"/>
                  </a:lnTo>
                  <a:lnTo>
                    <a:pt x="232" y="450"/>
                  </a:lnTo>
                  <a:lnTo>
                    <a:pt x="226" y="444"/>
                  </a:lnTo>
                  <a:lnTo>
                    <a:pt x="218" y="436"/>
                  </a:lnTo>
                  <a:lnTo>
                    <a:pt x="210" y="430"/>
                  </a:lnTo>
                  <a:lnTo>
                    <a:pt x="202" y="426"/>
                  </a:lnTo>
                  <a:lnTo>
                    <a:pt x="192" y="426"/>
                  </a:lnTo>
                  <a:lnTo>
                    <a:pt x="184" y="430"/>
                  </a:lnTo>
                  <a:lnTo>
                    <a:pt x="174" y="434"/>
                  </a:lnTo>
                  <a:lnTo>
                    <a:pt x="156" y="446"/>
                  </a:lnTo>
                  <a:lnTo>
                    <a:pt x="140" y="460"/>
                  </a:lnTo>
                  <a:lnTo>
                    <a:pt x="40" y="632"/>
                  </a:lnTo>
                  <a:lnTo>
                    <a:pt x="4" y="694"/>
                  </a:lnTo>
                  <a:lnTo>
                    <a:pt x="0" y="694"/>
                  </a:lnTo>
                  <a:lnTo>
                    <a:pt x="2" y="696"/>
                  </a:lnTo>
                  <a:lnTo>
                    <a:pt x="4" y="696"/>
                  </a:lnTo>
                  <a:lnTo>
                    <a:pt x="140" y="934"/>
                  </a:lnTo>
                  <a:lnTo>
                    <a:pt x="158" y="948"/>
                  </a:lnTo>
                  <a:lnTo>
                    <a:pt x="176" y="962"/>
                  </a:lnTo>
                  <a:lnTo>
                    <a:pt x="186" y="968"/>
                  </a:lnTo>
                  <a:lnTo>
                    <a:pt x="196" y="970"/>
                  </a:lnTo>
                  <a:lnTo>
                    <a:pt x="206" y="970"/>
                  </a:lnTo>
                  <a:lnTo>
                    <a:pt x="214" y="968"/>
                  </a:lnTo>
                  <a:lnTo>
                    <a:pt x="224" y="960"/>
                  </a:lnTo>
                  <a:lnTo>
                    <a:pt x="230" y="954"/>
                  </a:lnTo>
                  <a:lnTo>
                    <a:pt x="236" y="946"/>
                  </a:lnTo>
                  <a:lnTo>
                    <a:pt x="240" y="938"/>
                  </a:lnTo>
                  <a:lnTo>
                    <a:pt x="242" y="922"/>
                  </a:lnTo>
                  <a:lnTo>
                    <a:pt x="242" y="906"/>
                  </a:lnTo>
                  <a:lnTo>
                    <a:pt x="242" y="888"/>
                  </a:lnTo>
                  <a:lnTo>
                    <a:pt x="244" y="872"/>
                  </a:lnTo>
                  <a:lnTo>
                    <a:pt x="248" y="864"/>
                  </a:lnTo>
                  <a:lnTo>
                    <a:pt x="252" y="858"/>
                  </a:lnTo>
                  <a:lnTo>
                    <a:pt x="260" y="850"/>
                  </a:lnTo>
                  <a:lnTo>
                    <a:pt x="268" y="844"/>
                  </a:lnTo>
                  <a:lnTo>
                    <a:pt x="278" y="838"/>
                  </a:lnTo>
                  <a:lnTo>
                    <a:pt x="290" y="836"/>
                  </a:lnTo>
                  <a:lnTo>
                    <a:pt x="300" y="836"/>
                  </a:lnTo>
                  <a:lnTo>
                    <a:pt x="310" y="836"/>
                  </a:lnTo>
                  <a:lnTo>
                    <a:pt x="322" y="840"/>
                  </a:lnTo>
                  <a:lnTo>
                    <a:pt x="332" y="844"/>
                  </a:lnTo>
                  <a:lnTo>
                    <a:pt x="352" y="858"/>
                  </a:lnTo>
                  <a:lnTo>
                    <a:pt x="372" y="874"/>
                  </a:lnTo>
                  <a:lnTo>
                    <a:pt x="390" y="892"/>
                  </a:lnTo>
                  <a:lnTo>
                    <a:pt x="404" y="910"/>
                  </a:lnTo>
                  <a:lnTo>
                    <a:pt x="414" y="926"/>
                  </a:lnTo>
                  <a:lnTo>
                    <a:pt x="422" y="944"/>
                  </a:lnTo>
                  <a:lnTo>
                    <a:pt x="432" y="964"/>
                  </a:lnTo>
                  <a:lnTo>
                    <a:pt x="438" y="988"/>
                  </a:lnTo>
                  <a:lnTo>
                    <a:pt x="442" y="1012"/>
                  </a:lnTo>
                  <a:lnTo>
                    <a:pt x="444" y="1038"/>
                  </a:lnTo>
                  <a:lnTo>
                    <a:pt x="442" y="1048"/>
                  </a:lnTo>
                  <a:lnTo>
                    <a:pt x="440" y="1060"/>
                  </a:lnTo>
                  <a:lnTo>
                    <a:pt x="436" y="1070"/>
                  </a:lnTo>
                  <a:lnTo>
                    <a:pt x="430" y="1078"/>
                  </a:lnTo>
                  <a:lnTo>
                    <a:pt x="422" y="1086"/>
                  </a:lnTo>
                  <a:lnTo>
                    <a:pt x="412" y="1092"/>
                  </a:lnTo>
                  <a:lnTo>
                    <a:pt x="402" y="1098"/>
                  </a:lnTo>
                  <a:lnTo>
                    <a:pt x="392" y="1100"/>
                  </a:lnTo>
                  <a:lnTo>
                    <a:pt x="384" y="1100"/>
                  </a:lnTo>
                  <a:lnTo>
                    <a:pt x="376" y="1100"/>
                  </a:lnTo>
                  <a:lnTo>
                    <a:pt x="360" y="1094"/>
                  </a:lnTo>
                  <a:lnTo>
                    <a:pt x="346" y="1084"/>
                  </a:lnTo>
                  <a:lnTo>
                    <a:pt x="330" y="1076"/>
                  </a:lnTo>
                  <a:lnTo>
                    <a:pt x="316" y="1070"/>
                  </a:lnTo>
                  <a:lnTo>
                    <a:pt x="306" y="1070"/>
                  </a:lnTo>
                  <a:lnTo>
                    <a:pt x="298" y="1070"/>
                  </a:lnTo>
                  <a:lnTo>
                    <a:pt x="288" y="1074"/>
                  </a:lnTo>
                  <a:lnTo>
                    <a:pt x="278" y="1078"/>
                  </a:lnTo>
                  <a:lnTo>
                    <a:pt x="272" y="1084"/>
                  </a:lnTo>
                  <a:lnTo>
                    <a:pt x="266" y="1092"/>
                  </a:lnTo>
                  <a:lnTo>
                    <a:pt x="264" y="1102"/>
                  </a:lnTo>
                  <a:lnTo>
                    <a:pt x="264" y="1114"/>
                  </a:lnTo>
                  <a:lnTo>
                    <a:pt x="266" y="1136"/>
                  </a:lnTo>
                  <a:lnTo>
                    <a:pt x="270" y="1158"/>
                  </a:lnTo>
                  <a:lnTo>
                    <a:pt x="402" y="1386"/>
                  </a:lnTo>
                  <a:lnTo>
                    <a:pt x="668" y="1386"/>
                  </a:lnTo>
                  <a:lnTo>
                    <a:pt x="674" y="1388"/>
                  </a:lnTo>
                  <a:lnTo>
                    <a:pt x="686" y="1392"/>
                  </a:lnTo>
                  <a:lnTo>
                    <a:pt x="688" y="1394"/>
                  </a:lnTo>
                  <a:lnTo>
                    <a:pt x="692" y="1394"/>
                  </a:lnTo>
                  <a:lnTo>
                    <a:pt x="694" y="1396"/>
                  </a:lnTo>
                  <a:lnTo>
                    <a:pt x="696" y="1398"/>
                  </a:lnTo>
                  <a:lnTo>
                    <a:pt x="700" y="1398"/>
                  </a:lnTo>
                  <a:lnTo>
                    <a:pt x="702" y="1400"/>
                  </a:lnTo>
                  <a:lnTo>
                    <a:pt x="704" y="1402"/>
                  </a:lnTo>
                  <a:lnTo>
                    <a:pt x="706" y="1402"/>
                  </a:lnTo>
                  <a:lnTo>
                    <a:pt x="710" y="1406"/>
                  </a:lnTo>
                  <a:lnTo>
                    <a:pt x="714" y="1410"/>
                  </a:lnTo>
                  <a:lnTo>
                    <a:pt x="716" y="1410"/>
                  </a:lnTo>
                  <a:lnTo>
                    <a:pt x="718" y="1412"/>
                  </a:lnTo>
                  <a:lnTo>
                    <a:pt x="720" y="1414"/>
                  </a:lnTo>
                  <a:lnTo>
                    <a:pt x="722" y="1416"/>
                  </a:lnTo>
                  <a:lnTo>
                    <a:pt x="722" y="1418"/>
                  </a:lnTo>
                  <a:lnTo>
                    <a:pt x="724" y="1420"/>
                  </a:lnTo>
                  <a:lnTo>
                    <a:pt x="724" y="1422"/>
                  </a:lnTo>
                  <a:lnTo>
                    <a:pt x="726" y="1424"/>
                  </a:lnTo>
                  <a:lnTo>
                    <a:pt x="726" y="1426"/>
                  </a:lnTo>
                  <a:lnTo>
                    <a:pt x="726" y="1430"/>
                  </a:lnTo>
                  <a:lnTo>
                    <a:pt x="726" y="1436"/>
                  </a:lnTo>
                  <a:lnTo>
                    <a:pt x="726" y="1438"/>
                  </a:lnTo>
                  <a:lnTo>
                    <a:pt x="726" y="1442"/>
                  </a:lnTo>
                  <a:lnTo>
                    <a:pt x="724" y="1444"/>
                  </a:lnTo>
                  <a:lnTo>
                    <a:pt x="724" y="1448"/>
                  </a:lnTo>
                  <a:lnTo>
                    <a:pt x="720" y="1458"/>
                  </a:lnTo>
                  <a:lnTo>
                    <a:pt x="716" y="1464"/>
                  </a:lnTo>
                  <a:lnTo>
                    <a:pt x="710" y="1470"/>
                  </a:lnTo>
                  <a:lnTo>
                    <a:pt x="704" y="1476"/>
                  </a:lnTo>
                  <a:lnTo>
                    <a:pt x="690" y="1484"/>
                  </a:lnTo>
                  <a:lnTo>
                    <a:pt x="676" y="1492"/>
                  </a:lnTo>
                  <a:lnTo>
                    <a:pt x="674" y="1494"/>
                  </a:lnTo>
                  <a:lnTo>
                    <a:pt x="672" y="1494"/>
                  </a:lnTo>
                  <a:lnTo>
                    <a:pt x="668" y="1498"/>
                  </a:lnTo>
                  <a:lnTo>
                    <a:pt x="666" y="1498"/>
                  </a:lnTo>
                  <a:lnTo>
                    <a:pt x="662" y="1502"/>
                  </a:lnTo>
                  <a:lnTo>
                    <a:pt x="660" y="1504"/>
                  </a:lnTo>
                  <a:lnTo>
                    <a:pt x="656" y="1508"/>
                  </a:lnTo>
                  <a:lnTo>
                    <a:pt x="652" y="1514"/>
                  </a:lnTo>
                  <a:lnTo>
                    <a:pt x="650" y="1522"/>
                  </a:lnTo>
                  <a:lnTo>
                    <a:pt x="648" y="1530"/>
                  </a:lnTo>
                  <a:lnTo>
                    <a:pt x="648" y="1532"/>
                  </a:lnTo>
                  <a:lnTo>
                    <a:pt x="646" y="1540"/>
                  </a:lnTo>
                  <a:lnTo>
                    <a:pt x="648" y="1552"/>
                  </a:lnTo>
                  <a:lnTo>
                    <a:pt x="650" y="1562"/>
                  </a:lnTo>
                  <a:lnTo>
                    <a:pt x="656" y="1572"/>
                  </a:lnTo>
                  <a:lnTo>
                    <a:pt x="662" y="1580"/>
                  </a:lnTo>
                  <a:lnTo>
                    <a:pt x="670" y="1588"/>
                  </a:lnTo>
                  <a:lnTo>
                    <a:pt x="680" y="1594"/>
                  </a:lnTo>
                  <a:lnTo>
                    <a:pt x="700" y="1606"/>
                  </a:lnTo>
                  <a:lnTo>
                    <a:pt x="724" y="1614"/>
                  </a:lnTo>
                  <a:lnTo>
                    <a:pt x="748" y="1620"/>
                  </a:lnTo>
                  <a:lnTo>
                    <a:pt x="770" y="1624"/>
                  </a:lnTo>
                  <a:lnTo>
                    <a:pt x="790" y="1624"/>
                  </a:lnTo>
                  <a:lnTo>
                    <a:pt x="810" y="1624"/>
                  </a:lnTo>
                  <a:lnTo>
                    <a:pt x="832" y="1620"/>
                  </a:lnTo>
                  <a:lnTo>
                    <a:pt x="856" y="1614"/>
                  </a:lnTo>
                  <a:lnTo>
                    <a:pt x="880" y="1606"/>
                  </a:lnTo>
                  <a:lnTo>
                    <a:pt x="902" y="1594"/>
                  </a:lnTo>
                  <a:lnTo>
                    <a:pt x="910" y="1588"/>
                  </a:lnTo>
                  <a:lnTo>
                    <a:pt x="918" y="1580"/>
                  </a:lnTo>
                  <a:lnTo>
                    <a:pt x="926" y="1572"/>
                  </a:lnTo>
                  <a:lnTo>
                    <a:pt x="930" y="1562"/>
                  </a:lnTo>
                  <a:lnTo>
                    <a:pt x="934" y="1552"/>
                  </a:lnTo>
                  <a:lnTo>
                    <a:pt x="934" y="1540"/>
                  </a:lnTo>
                  <a:lnTo>
                    <a:pt x="934" y="1532"/>
                  </a:lnTo>
                  <a:lnTo>
                    <a:pt x="934" y="1530"/>
                  </a:lnTo>
                  <a:lnTo>
                    <a:pt x="932" y="1522"/>
                  </a:lnTo>
                  <a:lnTo>
                    <a:pt x="930" y="1522"/>
                  </a:lnTo>
                  <a:lnTo>
                    <a:pt x="928" y="1514"/>
                  </a:lnTo>
                  <a:lnTo>
                    <a:pt x="924" y="1508"/>
                  </a:lnTo>
                  <a:lnTo>
                    <a:pt x="920" y="1504"/>
                  </a:lnTo>
                  <a:lnTo>
                    <a:pt x="918" y="1502"/>
                  </a:lnTo>
                  <a:lnTo>
                    <a:pt x="914" y="1498"/>
                  </a:lnTo>
                  <a:lnTo>
                    <a:pt x="912" y="1498"/>
                  </a:lnTo>
                  <a:lnTo>
                    <a:pt x="908" y="1494"/>
                  </a:lnTo>
                  <a:lnTo>
                    <a:pt x="906" y="1494"/>
                  </a:lnTo>
                  <a:lnTo>
                    <a:pt x="904" y="1492"/>
                  </a:lnTo>
                  <a:lnTo>
                    <a:pt x="890" y="1484"/>
                  </a:lnTo>
                  <a:lnTo>
                    <a:pt x="878" y="1476"/>
                  </a:lnTo>
                  <a:lnTo>
                    <a:pt x="866" y="1466"/>
                  </a:lnTo>
                  <a:lnTo>
                    <a:pt x="862" y="1460"/>
                  </a:lnTo>
                  <a:lnTo>
                    <a:pt x="858" y="1454"/>
                  </a:lnTo>
                  <a:lnTo>
                    <a:pt x="856" y="1448"/>
                  </a:lnTo>
                  <a:lnTo>
                    <a:pt x="856" y="1444"/>
                  </a:lnTo>
                  <a:lnTo>
                    <a:pt x="856" y="1442"/>
                  </a:lnTo>
                  <a:lnTo>
                    <a:pt x="854" y="1438"/>
                  </a:lnTo>
                  <a:lnTo>
                    <a:pt x="854" y="1436"/>
                  </a:lnTo>
                  <a:lnTo>
                    <a:pt x="854" y="1430"/>
                  </a:lnTo>
                  <a:lnTo>
                    <a:pt x="854" y="1426"/>
                  </a:lnTo>
                  <a:lnTo>
                    <a:pt x="856" y="1424"/>
                  </a:lnTo>
                  <a:lnTo>
                    <a:pt x="856" y="1422"/>
                  </a:lnTo>
                  <a:lnTo>
                    <a:pt x="856" y="1420"/>
                  </a:lnTo>
                  <a:lnTo>
                    <a:pt x="858" y="1418"/>
                  </a:lnTo>
                  <a:lnTo>
                    <a:pt x="860" y="1416"/>
                  </a:lnTo>
                  <a:lnTo>
                    <a:pt x="862" y="1414"/>
                  </a:lnTo>
                  <a:lnTo>
                    <a:pt x="862" y="1412"/>
                  </a:lnTo>
                  <a:lnTo>
                    <a:pt x="864" y="1410"/>
                  </a:lnTo>
                  <a:lnTo>
                    <a:pt x="866" y="1410"/>
                  </a:lnTo>
                  <a:lnTo>
                    <a:pt x="870" y="1406"/>
                  </a:lnTo>
                  <a:lnTo>
                    <a:pt x="874" y="1402"/>
                  </a:lnTo>
                  <a:lnTo>
                    <a:pt x="876" y="1402"/>
                  </a:lnTo>
                  <a:lnTo>
                    <a:pt x="880" y="1400"/>
                  </a:lnTo>
                  <a:lnTo>
                    <a:pt x="882" y="1398"/>
                  </a:lnTo>
                  <a:lnTo>
                    <a:pt x="884" y="1398"/>
                  </a:lnTo>
                  <a:lnTo>
                    <a:pt x="886" y="1396"/>
                  </a:lnTo>
                  <a:lnTo>
                    <a:pt x="890" y="1394"/>
                  </a:lnTo>
                  <a:lnTo>
                    <a:pt x="892" y="1394"/>
                  </a:lnTo>
                  <a:lnTo>
                    <a:pt x="894" y="1392"/>
                  </a:lnTo>
                  <a:lnTo>
                    <a:pt x="906" y="1388"/>
                  </a:lnTo>
                  <a:lnTo>
                    <a:pt x="908" y="1388"/>
                  </a:lnTo>
                  <a:lnTo>
                    <a:pt x="912" y="1386"/>
                  </a:lnTo>
                  <a:lnTo>
                    <a:pt x="1200" y="1386"/>
                  </a:lnTo>
                  <a:lnTo>
                    <a:pt x="1200" y="1384"/>
                  </a:lnTo>
                  <a:lnTo>
                    <a:pt x="1600" y="694"/>
                  </a:lnTo>
                  <a:lnTo>
                    <a:pt x="1200" y="0"/>
                  </a:lnTo>
                  <a:close/>
                </a:path>
              </a:pathLst>
            </a:custGeom>
            <a:solidFill>
              <a:srgbClr val="FBFB37"/>
            </a:solidFill>
            <a:ln w="38100" cap="flat" cmpd="sng">
              <a:solidFill>
                <a:srgbClr val="5F5F5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E"/>
            </a:p>
          </p:txBody>
        </p:sp>
        <p:sp>
          <p:nvSpPr>
            <p:cNvPr id="32789" name="Text Box 8"/>
            <p:cNvSpPr txBox="1">
              <a:spLocks noChangeArrowheads="1"/>
            </p:cNvSpPr>
            <p:nvPr/>
          </p:nvSpPr>
          <p:spPr bwMode="auto">
            <a:xfrm>
              <a:off x="3805" y="1643"/>
              <a:ext cx="785" cy="5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5F5F5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IE" b="1">
                  <a:solidFill>
                    <a:srgbClr val="000000"/>
                  </a:solidFill>
                  <a:cs typeface="Arial" charset="0"/>
                </a:rPr>
                <a:t>Cold Chain Supplier</a:t>
              </a:r>
              <a:endParaRPr lang="en-GB" b="1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32773" name="Group 9"/>
          <p:cNvGrpSpPr>
            <a:grpSpLocks/>
          </p:cNvGrpSpPr>
          <p:nvPr/>
        </p:nvGrpSpPr>
        <p:grpSpPr bwMode="auto">
          <a:xfrm>
            <a:off x="5226050" y="3546475"/>
            <a:ext cx="1739900" cy="1503363"/>
            <a:chOff x="3632" y="2767"/>
            <a:chExt cx="1096" cy="947"/>
          </a:xfrm>
        </p:grpSpPr>
        <p:sp>
          <p:nvSpPr>
            <p:cNvPr id="32786" name="Freeform 10"/>
            <p:cNvSpPr>
              <a:spLocks/>
            </p:cNvSpPr>
            <p:nvPr/>
          </p:nvSpPr>
          <p:spPr bwMode="auto">
            <a:xfrm>
              <a:off x="3632" y="2767"/>
              <a:ext cx="1096" cy="947"/>
            </a:xfrm>
            <a:custGeom>
              <a:avLst/>
              <a:gdLst>
                <a:gd name="T0" fmla="*/ 200 w 1600"/>
                <a:gd name="T1" fmla="*/ 1 h 1382"/>
                <a:gd name="T2" fmla="*/ 197 w 1600"/>
                <a:gd name="T3" fmla="*/ 2 h 1382"/>
                <a:gd name="T4" fmla="*/ 195 w 1600"/>
                <a:gd name="T5" fmla="*/ 3 h 1382"/>
                <a:gd name="T6" fmla="*/ 193 w 1600"/>
                <a:gd name="T7" fmla="*/ 3 h 1382"/>
                <a:gd name="T8" fmla="*/ 191 w 1600"/>
                <a:gd name="T9" fmla="*/ 5 h 1382"/>
                <a:gd name="T10" fmla="*/ 190 w 1600"/>
                <a:gd name="T11" fmla="*/ 6 h 1382"/>
                <a:gd name="T12" fmla="*/ 189 w 1600"/>
                <a:gd name="T13" fmla="*/ 8 h 1382"/>
                <a:gd name="T14" fmla="*/ 188 w 1600"/>
                <a:gd name="T15" fmla="*/ 9 h 1382"/>
                <a:gd name="T16" fmla="*/ 188 w 1600"/>
                <a:gd name="T17" fmla="*/ 10 h 1382"/>
                <a:gd name="T18" fmla="*/ 188 w 1600"/>
                <a:gd name="T19" fmla="*/ 13 h 1382"/>
                <a:gd name="T20" fmla="*/ 188 w 1600"/>
                <a:gd name="T21" fmla="*/ 14 h 1382"/>
                <a:gd name="T22" fmla="*/ 190 w 1600"/>
                <a:gd name="T23" fmla="*/ 18 h 1382"/>
                <a:gd name="T24" fmla="*/ 199 w 1600"/>
                <a:gd name="T25" fmla="*/ 24 h 1382"/>
                <a:gd name="T26" fmla="*/ 201 w 1600"/>
                <a:gd name="T27" fmla="*/ 25 h 1382"/>
                <a:gd name="T28" fmla="*/ 203 w 1600"/>
                <a:gd name="T29" fmla="*/ 27 h 1382"/>
                <a:gd name="T30" fmla="*/ 205 w 1600"/>
                <a:gd name="T31" fmla="*/ 29 h 1382"/>
                <a:gd name="T32" fmla="*/ 206 w 1600"/>
                <a:gd name="T33" fmla="*/ 32 h 1382"/>
                <a:gd name="T34" fmla="*/ 206 w 1600"/>
                <a:gd name="T35" fmla="*/ 34 h 1382"/>
                <a:gd name="T36" fmla="*/ 200 w 1600"/>
                <a:gd name="T37" fmla="*/ 45 h 1382"/>
                <a:gd name="T38" fmla="*/ 174 w 1600"/>
                <a:gd name="T39" fmla="*/ 53 h 1382"/>
                <a:gd name="T40" fmla="*/ 150 w 1600"/>
                <a:gd name="T41" fmla="*/ 47 h 1382"/>
                <a:gd name="T42" fmla="*/ 142 w 1600"/>
                <a:gd name="T43" fmla="*/ 34 h 1382"/>
                <a:gd name="T44" fmla="*/ 142 w 1600"/>
                <a:gd name="T45" fmla="*/ 32 h 1382"/>
                <a:gd name="T46" fmla="*/ 143 w 1600"/>
                <a:gd name="T47" fmla="*/ 31 h 1382"/>
                <a:gd name="T48" fmla="*/ 145 w 1600"/>
                <a:gd name="T49" fmla="*/ 27 h 1382"/>
                <a:gd name="T50" fmla="*/ 145 w 1600"/>
                <a:gd name="T51" fmla="*/ 26 h 1382"/>
                <a:gd name="T52" fmla="*/ 148 w 1600"/>
                <a:gd name="T53" fmla="*/ 24 h 1382"/>
                <a:gd name="T54" fmla="*/ 154 w 1600"/>
                <a:gd name="T55" fmla="*/ 20 h 1382"/>
                <a:gd name="T56" fmla="*/ 160 w 1600"/>
                <a:gd name="T57" fmla="*/ 14 h 1382"/>
                <a:gd name="T58" fmla="*/ 160 w 1600"/>
                <a:gd name="T59" fmla="*/ 13 h 1382"/>
                <a:gd name="T60" fmla="*/ 160 w 1600"/>
                <a:gd name="T61" fmla="*/ 10 h 1382"/>
                <a:gd name="T62" fmla="*/ 160 w 1600"/>
                <a:gd name="T63" fmla="*/ 9 h 1382"/>
                <a:gd name="T64" fmla="*/ 159 w 1600"/>
                <a:gd name="T65" fmla="*/ 8 h 1382"/>
                <a:gd name="T66" fmla="*/ 158 w 1600"/>
                <a:gd name="T67" fmla="*/ 6 h 1382"/>
                <a:gd name="T68" fmla="*/ 156 w 1600"/>
                <a:gd name="T69" fmla="*/ 5 h 1382"/>
                <a:gd name="T70" fmla="*/ 155 w 1600"/>
                <a:gd name="T71" fmla="*/ 3 h 1382"/>
                <a:gd name="T72" fmla="*/ 153 w 1600"/>
                <a:gd name="T73" fmla="*/ 3 h 1382"/>
                <a:gd name="T74" fmla="*/ 151 w 1600"/>
                <a:gd name="T75" fmla="*/ 2 h 1382"/>
                <a:gd name="T76" fmla="*/ 148 w 1600"/>
                <a:gd name="T77" fmla="*/ 1 h 1382"/>
                <a:gd name="T78" fmla="*/ 88 w 1600"/>
                <a:gd name="T79" fmla="*/ 1 h 1382"/>
                <a:gd name="T80" fmla="*/ 58 w 1600"/>
                <a:gd name="T81" fmla="*/ 66 h 1382"/>
                <a:gd name="T82" fmla="*/ 66 w 1600"/>
                <a:gd name="T83" fmla="*/ 71 h 1382"/>
                <a:gd name="T84" fmla="*/ 84 w 1600"/>
                <a:gd name="T85" fmla="*/ 64 h 1382"/>
                <a:gd name="T86" fmla="*/ 93 w 1600"/>
                <a:gd name="T87" fmla="*/ 69 h 1382"/>
                <a:gd name="T88" fmla="*/ 95 w 1600"/>
                <a:gd name="T89" fmla="*/ 89 h 1382"/>
                <a:gd name="T90" fmla="*/ 84 w 1600"/>
                <a:gd name="T91" fmla="*/ 110 h 1382"/>
                <a:gd name="T92" fmla="*/ 65 w 1600"/>
                <a:gd name="T93" fmla="*/ 123 h 1382"/>
                <a:gd name="T94" fmla="*/ 54 w 1600"/>
                <a:gd name="T95" fmla="*/ 118 h 1382"/>
                <a:gd name="T96" fmla="*/ 51 w 1600"/>
                <a:gd name="T97" fmla="*/ 100 h 1382"/>
                <a:gd name="T98" fmla="*/ 45 w 1600"/>
                <a:gd name="T99" fmla="*/ 93 h 1382"/>
                <a:gd name="T100" fmla="*/ 1 w 1600"/>
                <a:gd name="T101" fmla="*/ 152 h 1382"/>
                <a:gd name="T102" fmla="*/ 32 w 1600"/>
                <a:gd name="T103" fmla="*/ 205 h 1382"/>
                <a:gd name="T104" fmla="*/ 44 w 1600"/>
                <a:gd name="T105" fmla="*/ 210 h 1382"/>
                <a:gd name="T106" fmla="*/ 50 w 1600"/>
                <a:gd name="T107" fmla="*/ 204 h 1382"/>
                <a:gd name="T108" fmla="*/ 53 w 1600"/>
                <a:gd name="T109" fmla="*/ 186 h 1382"/>
                <a:gd name="T110" fmla="*/ 63 w 1600"/>
                <a:gd name="T111" fmla="*/ 181 h 1382"/>
                <a:gd name="T112" fmla="*/ 82 w 1600"/>
                <a:gd name="T113" fmla="*/ 190 h 1382"/>
                <a:gd name="T114" fmla="*/ 93 w 1600"/>
                <a:gd name="T115" fmla="*/ 209 h 1382"/>
                <a:gd name="T116" fmla="*/ 95 w 1600"/>
                <a:gd name="T117" fmla="*/ 232 h 1382"/>
                <a:gd name="T118" fmla="*/ 83 w 1600"/>
                <a:gd name="T119" fmla="*/ 239 h 1382"/>
                <a:gd name="T120" fmla="*/ 68 w 1600"/>
                <a:gd name="T121" fmla="*/ 233 h 1382"/>
                <a:gd name="T122" fmla="*/ 58 w 1600"/>
                <a:gd name="T123" fmla="*/ 236 h 1382"/>
                <a:gd name="T124" fmla="*/ 88 w 1600"/>
                <a:gd name="T125" fmla="*/ 305 h 13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600" h="1382">
                  <a:moveTo>
                    <a:pt x="1200" y="2"/>
                  </a:moveTo>
                  <a:lnTo>
                    <a:pt x="912" y="2"/>
                  </a:lnTo>
                  <a:lnTo>
                    <a:pt x="908" y="4"/>
                  </a:lnTo>
                  <a:lnTo>
                    <a:pt x="906" y="4"/>
                  </a:lnTo>
                  <a:lnTo>
                    <a:pt x="894" y="8"/>
                  </a:lnTo>
                  <a:lnTo>
                    <a:pt x="892" y="10"/>
                  </a:lnTo>
                  <a:lnTo>
                    <a:pt x="890" y="10"/>
                  </a:lnTo>
                  <a:lnTo>
                    <a:pt x="886" y="12"/>
                  </a:lnTo>
                  <a:lnTo>
                    <a:pt x="884" y="14"/>
                  </a:lnTo>
                  <a:lnTo>
                    <a:pt x="882" y="14"/>
                  </a:lnTo>
                  <a:lnTo>
                    <a:pt x="880" y="16"/>
                  </a:lnTo>
                  <a:lnTo>
                    <a:pt x="876" y="18"/>
                  </a:lnTo>
                  <a:lnTo>
                    <a:pt x="874" y="18"/>
                  </a:lnTo>
                  <a:lnTo>
                    <a:pt x="870" y="22"/>
                  </a:lnTo>
                  <a:lnTo>
                    <a:pt x="866" y="26"/>
                  </a:lnTo>
                  <a:lnTo>
                    <a:pt x="864" y="26"/>
                  </a:lnTo>
                  <a:lnTo>
                    <a:pt x="862" y="28"/>
                  </a:lnTo>
                  <a:lnTo>
                    <a:pt x="862" y="30"/>
                  </a:lnTo>
                  <a:lnTo>
                    <a:pt x="860" y="32"/>
                  </a:lnTo>
                  <a:lnTo>
                    <a:pt x="858" y="34"/>
                  </a:lnTo>
                  <a:lnTo>
                    <a:pt x="856" y="36"/>
                  </a:lnTo>
                  <a:lnTo>
                    <a:pt x="856" y="38"/>
                  </a:lnTo>
                  <a:lnTo>
                    <a:pt x="856" y="40"/>
                  </a:lnTo>
                  <a:lnTo>
                    <a:pt x="854" y="42"/>
                  </a:lnTo>
                  <a:lnTo>
                    <a:pt x="854" y="46"/>
                  </a:lnTo>
                  <a:lnTo>
                    <a:pt x="854" y="52"/>
                  </a:lnTo>
                  <a:lnTo>
                    <a:pt x="854" y="54"/>
                  </a:lnTo>
                  <a:lnTo>
                    <a:pt x="856" y="58"/>
                  </a:lnTo>
                  <a:lnTo>
                    <a:pt x="856" y="60"/>
                  </a:lnTo>
                  <a:lnTo>
                    <a:pt x="856" y="64"/>
                  </a:lnTo>
                  <a:lnTo>
                    <a:pt x="858" y="70"/>
                  </a:lnTo>
                  <a:lnTo>
                    <a:pt x="862" y="76"/>
                  </a:lnTo>
                  <a:lnTo>
                    <a:pt x="866" y="82"/>
                  </a:lnTo>
                  <a:lnTo>
                    <a:pt x="878" y="92"/>
                  </a:lnTo>
                  <a:lnTo>
                    <a:pt x="890" y="100"/>
                  </a:lnTo>
                  <a:lnTo>
                    <a:pt x="904" y="108"/>
                  </a:lnTo>
                  <a:lnTo>
                    <a:pt x="906" y="110"/>
                  </a:lnTo>
                  <a:lnTo>
                    <a:pt x="908" y="110"/>
                  </a:lnTo>
                  <a:lnTo>
                    <a:pt x="912" y="114"/>
                  </a:lnTo>
                  <a:lnTo>
                    <a:pt x="914" y="114"/>
                  </a:lnTo>
                  <a:lnTo>
                    <a:pt x="918" y="118"/>
                  </a:lnTo>
                  <a:lnTo>
                    <a:pt x="920" y="120"/>
                  </a:lnTo>
                  <a:lnTo>
                    <a:pt x="924" y="124"/>
                  </a:lnTo>
                  <a:lnTo>
                    <a:pt x="928" y="130"/>
                  </a:lnTo>
                  <a:lnTo>
                    <a:pt x="930" y="138"/>
                  </a:lnTo>
                  <a:lnTo>
                    <a:pt x="932" y="138"/>
                  </a:lnTo>
                  <a:lnTo>
                    <a:pt x="934" y="146"/>
                  </a:lnTo>
                  <a:lnTo>
                    <a:pt x="934" y="148"/>
                  </a:lnTo>
                  <a:lnTo>
                    <a:pt x="934" y="156"/>
                  </a:lnTo>
                  <a:lnTo>
                    <a:pt x="934" y="168"/>
                  </a:lnTo>
                  <a:lnTo>
                    <a:pt x="930" y="178"/>
                  </a:lnTo>
                  <a:lnTo>
                    <a:pt x="926" y="188"/>
                  </a:lnTo>
                  <a:lnTo>
                    <a:pt x="918" y="196"/>
                  </a:lnTo>
                  <a:lnTo>
                    <a:pt x="910" y="204"/>
                  </a:lnTo>
                  <a:lnTo>
                    <a:pt x="902" y="210"/>
                  </a:lnTo>
                  <a:lnTo>
                    <a:pt x="880" y="222"/>
                  </a:lnTo>
                  <a:lnTo>
                    <a:pt x="856" y="230"/>
                  </a:lnTo>
                  <a:lnTo>
                    <a:pt x="832" y="236"/>
                  </a:lnTo>
                  <a:lnTo>
                    <a:pt x="810" y="240"/>
                  </a:lnTo>
                  <a:lnTo>
                    <a:pt x="790" y="240"/>
                  </a:lnTo>
                  <a:lnTo>
                    <a:pt x="770" y="240"/>
                  </a:lnTo>
                  <a:lnTo>
                    <a:pt x="748" y="236"/>
                  </a:lnTo>
                  <a:lnTo>
                    <a:pt x="724" y="230"/>
                  </a:lnTo>
                  <a:lnTo>
                    <a:pt x="700" y="222"/>
                  </a:lnTo>
                  <a:lnTo>
                    <a:pt x="680" y="210"/>
                  </a:lnTo>
                  <a:lnTo>
                    <a:pt x="670" y="204"/>
                  </a:lnTo>
                  <a:lnTo>
                    <a:pt x="662" y="196"/>
                  </a:lnTo>
                  <a:lnTo>
                    <a:pt x="656" y="188"/>
                  </a:lnTo>
                  <a:lnTo>
                    <a:pt x="650" y="178"/>
                  </a:lnTo>
                  <a:lnTo>
                    <a:pt x="648" y="168"/>
                  </a:lnTo>
                  <a:lnTo>
                    <a:pt x="646" y="156"/>
                  </a:lnTo>
                  <a:lnTo>
                    <a:pt x="648" y="148"/>
                  </a:lnTo>
                  <a:lnTo>
                    <a:pt x="648" y="146"/>
                  </a:lnTo>
                  <a:lnTo>
                    <a:pt x="650" y="138"/>
                  </a:lnTo>
                  <a:lnTo>
                    <a:pt x="652" y="130"/>
                  </a:lnTo>
                  <a:lnTo>
                    <a:pt x="656" y="124"/>
                  </a:lnTo>
                  <a:lnTo>
                    <a:pt x="660" y="120"/>
                  </a:lnTo>
                  <a:lnTo>
                    <a:pt x="662" y="118"/>
                  </a:lnTo>
                  <a:lnTo>
                    <a:pt x="666" y="114"/>
                  </a:lnTo>
                  <a:lnTo>
                    <a:pt x="668" y="114"/>
                  </a:lnTo>
                  <a:lnTo>
                    <a:pt x="672" y="110"/>
                  </a:lnTo>
                  <a:lnTo>
                    <a:pt x="674" y="110"/>
                  </a:lnTo>
                  <a:lnTo>
                    <a:pt x="676" y="108"/>
                  </a:lnTo>
                  <a:lnTo>
                    <a:pt x="690" y="100"/>
                  </a:lnTo>
                  <a:lnTo>
                    <a:pt x="702" y="92"/>
                  </a:lnTo>
                  <a:lnTo>
                    <a:pt x="714" y="82"/>
                  </a:lnTo>
                  <a:lnTo>
                    <a:pt x="718" y="76"/>
                  </a:lnTo>
                  <a:lnTo>
                    <a:pt x="722" y="70"/>
                  </a:lnTo>
                  <a:lnTo>
                    <a:pt x="724" y="64"/>
                  </a:lnTo>
                  <a:lnTo>
                    <a:pt x="724" y="60"/>
                  </a:lnTo>
                  <a:lnTo>
                    <a:pt x="726" y="58"/>
                  </a:lnTo>
                  <a:lnTo>
                    <a:pt x="726" y="54"/>
                  </a:lnTo>
                  <a:lnTo>
                    <a:pt x="726" y="52"/>
                  </a:lnTo>
                  <a:lnTo>
                    <a:pt x="726" y="46"/>
                  </a:lnTo>
                  <a:lnTo>
                    <a:pt x="726" y="42"/>
                  </a:lnTo>
                  <a:lnTo>
                    <a:pt x="726" y="40"/>
                  </a:lnTo>
                  <a:lnTo>
                    <a:pt x="724" y="38"/>
                  </a:lnTo>
                  <a:lnTo>
                    <a:pt x="724" y="36"/>
                  </a:lnTo>
                  <a:lnTo>
                    <a:pt x="722" y="34"/>
                  </a:lnTo>
                  <a:lnTo>
                    <a:pt x="722" y="32"/>
                  </a:lnTo>
                  <a:lnTo>
                    <a:pt x="720" y="30"/>
                  </a:lnTo>
                  <a:lnTo>
                    <a:pt x="718" y="28"/>
                  </a:lnTo>
                  <a:lnTo>
                    <a:pt x="716" y="26"/>
                  </a:lnTo>
                  <a:lnTo>
                    <a:pt x="714" y="26"/>
                  </a:lnTo>
                  <a:lnTo>
                    <a:pt x="710" y="22"/>
                  </a:lnTo>
                  <a:lnTo>
                    <a:pt x="706" y="18"/>
                  </a:lnTo>
                  <a:lnTo>
                    <a:pt x="704" y="18"/>
                  </a:lnTo>
                  <a:lnTo>
                    <a:pt x="702" y="16"/>
                  </a:lnTo>
                  <a:lnTo>
                    <a:pt x="700" y="14"/>
                  </a:lnTo>
                  <a:lnTo>
                    <a:pt x="696" y="14"/>
                  </a:lnTo>
                  <a:lnTo>
                    <a:pt x="694" y="12"/>
                  </a:lnTo>
                  <a:lnTo>
                    <a:pt x="692" y="10"/>
                  </a:lnTo>
                  <a:lnTo>
                    <a:pt x="688" y="10"/>
                  </a:lnTo>
                  <a:lnTo>
                    <a:pt x="686" y="8"/>
                  </a:lnTo>
                  <a:lnTo>
                    <a:pt x="674" y="4"/>
                  </a:lnTo>
                  <a:lnTo>
                    <a:pt x="668" y="2"/>
                  </a:lnTo>
                  <a:lnTo>
                    <a:pt x="402" y="2"/>
                  </a:lnTo>
                  <a:lnTo>
                    <a:pt x="264" y="238"/>
                  </a:lnTo>
                  <a:lnTo>
                    <a:pt x="260" y="260"/>
                  </a:lnTo>
                  <a:lnTo>
                    <a:pt x="260" y="282"/>
                  </a:lnTo>
                  <a:lnTo>
                    <a:pt x="260" y="292"/>
                  </a:lnTo>
                  <a:lnTo>
                    <a:pt x="262" y="300"/>
                  </a:lnTo>
                  <a:lnTo>
                    <a:pt x="268" y="308"/>
                  </a:lnTo>
                  <a:lnTo>
                    <a:pt x="274" y="314"/>
                  </a:lnTo>
                  <a:lnTo>
                    <a:pt x="284" y="318"/>
                  </a:lnTo>
                  <a:lnTo>
                    <a:pt x="294" y="322"/>
                  </a:lnTo>
                  <a:lnTo>
                    <a:pt x="302" y="322"/>
                  </a:lnTo>
                  <a:lnTo>
                    <a:pt x="312" y="322"/>
                  </a:lnTo>
                  <a:lnTo>
                    <a:pt x="326" y="316"/>
                  </a:lnTo>
                  <a:lnTo>
                    <a:pt x="342" y="308"/>
                  </a:lnTo>
                  <a:lnTo>
                    <a:pt x="356" y="298"/>
                  </a:lnTo>
                  <a:lnTo>
                    <a:pt x="372" y="292"/>
                  </a:lnTo>
                  <a:lnTo>
                    <a:pt x="380" y="292"/>
                  </a:lnTo>
                  <a:lnTo>
                    <a:pt x="388" y="292"/>
                  </a:lnTo>
                  <a:lnTo>
                    <a:pt x="398" y="294"/>
                  </a:lnTo>
                  <a:lnTo>
                    <a:pt x="408" y="300"/>
                  </a:lnTo>
                  <a:lnTo>
                    <a:pt x="418" y="306"/>
                  </a:lnTo>
                  <a:lnTo>
                    <a:pt x="424" y="314"/>
                  </a:lnTo>
                  <a:lnTo>
                    <a:pt x="430" y="322"/>
                  </a:lnTo>
                  <a:lnTo>
                    <a:pt x="434" y="332"/>
                  </a:lnTo>
                  <a:lnTo>
                    <a:pt x="438" y="344"/>
                  </a:lnTo>
                  <a:lnTo>
                    <a:pt x="438" y="354"/>
                  </a:lnTo>
                  <a:lnTo>
                    <a:pt x="438" y="380"/>
                  </a:lnTo>
                  <a:lnTo>
                    <a:pt x="434" y="404"/>
                  </a:lnTo>
                  <a:lnTo>
                    <a:pt x="426" y="428"/>
                  </a:lnTo>
                  <a:lnTo>
                    <a:pt x="418" y="448"/>
                  </a:lnTo>
                  <a:lnTo>
                    <a:pt x="410" y="466"/>
                  </a:lnTo>
                  <a:lnTo>
                    <a:pt x="398" y="482"/>
                  </a:lnTo>
                  <a:lnTo>
                    <a:pt x="384" y="500"/>
                  </a:lnTo>
                  <a:lnTo>
                    <a:pt x="368" y="518"/>
                  </a:lnTo>
                  <a:lnTo>
                    <a:pt x="348" y="534"/>
                  </a:lnTo>
                  <a:lnTo>
                    <a:pt x="328" y="548"/>
                  </a:lnTo>
                  <a:lnTo>
                    <a:pt x="318" y="552"/>
                  </a:lnTo>
                  <a:lnTo>
                    <a:pt x="306" y="554"/>
                  </a:lnTo>
                  <a:lnTo>
                    <a:pt x="296" y="556"/>
                  </a:lnTo>
                  <a:lnTo>
                    <a:pt x="284" y="556"/>
                  </a:lnTo>
                  <a:lnTo>
                    <a:pt x="274" y="554"/>
                  </a:lnTo>
                  <a:lnTo>
                    <a:pt x="264" y="548"/>
                  </a:lnTo>
                  <a:lnTo>
                    <a:pt x="256" y="542"/>
                  </a:lnTo>
                  <a:lnTo>
                    <a:pt x="248" y="534"/>
                  </a:lnTo>
                  <a:lnTo>
                    <a:pt x="244" y="528"/>
                  </a:lnTo>
                  <a:lnTo>
                    <a:pt x="240" y="520"/>
                  </a:lnTo>
                  <a:lnTo>
                    <a:pt x="238" y="504"/>
                  </a:lnTo>
                  <a:lnTo>
                    <a:pt x="238" y="486"/>
                  </a:lnTo>
                  <a:lnTo>
                    <a:pt x="238" y="470"/>
                  </a:lnTo>
                  <a:lnTo>
                    <a:pt x="234" y="454"/>
                  </a:lnTo>
                  <a:lnTo>
                    <a:pt x="232" y="446"/>
                  </a:lnTo>
                  <a:lnTo>
                    <a:pt x="226" y="438"/>
                  </a:lnTo>
                  <a:lnTo>
                    <a:pt x="218" y="430"/>
                  </a:lnTo>
                  <a:lnTo>
                    <a:pt x="210" y="424"/>
                  </a:lnTo>
                  <a:lnTo>
                    <a:pt x="202" y="422"/>
                  </a:lnTo>
                  <a:lnTo>
                    <a:pt x="194" y="422"/>
                  </a:lnTo>
                  <a:lnTo>
                    <a:pt x="184" y="424"/>
                  </a:lnTo>
                  <a:lnTo>
                    <a:pt x="174" y="428"/>
                  </a:lnTo>
                  <a:lnTo>
                    <a:pt x="156" y="440"/>
                  </a:lnTo>
                  <a:lnTo>
                    <a:pt x="140" y="454"/>
                  </a:lnTo>
                  <a:lnTo>
                    <a:pt x="4" y="690"/>
                  </a:lnTo>
                  <a:lnTo>
                    <a:pt x="0" y="690"/>
                  </a:lnTo>
                  <a:lnTo>
                    <a:pt x="2" y="694"/>
                  </a:lnTo>
                  <a:lnTo>
                    <a:pt x="4" y="694"/>
                  </a:lnTo>
                  <a:lnTo>
                    <a:pt x="132" y="918"/>
                  </a:lnTo>
                  <a:lnTo>
                    <a:pt x="146" y="930"/>
                  </a:lnTo>
                  <a:lnTo>
                    <a:pt x="160" y="942"/>
                  </a:lnTo>
                  <a:lnTo>
                    <a:pt x="176" y="950"/>
                  </a:lnTo>
                  <a:lnTo>
                    <a:pt x="184" y="954"/>
                  </a:lnTo>
                  <a:lnTo>
                    <a:pt x="192" y="954"/>
                  </a:lnTo>
                  <a:lnTo>
                    <a:pt x="198" y="954"/>
                  </a:lnTo>
                  <a:lnTo>
                    <a:pt x="202" y="952"/>
                  </a:lnTo>
                  <a:lnTo>
                    <a:pt x="212" y="944"/>
                  </a:lnTo>
                  <a:lnTo>
                    <a:pt x="220" y="938"/>
                  </a:lnTo>
                  <a:lnTo>
                    <a:pt x="224" y="930"/>
                  </a:lnTo>
                  <a:lnTo>
                    <a:pt x="228" y="922"/>
                  </a:lnTo>
                  <a:lnTo>
                    <a:pt x="230" y="906"/>
                  </a:lnTo>
                  <a:lnTo>
                    <a:pt x="230" y="890"/>
                  </a:lnTo>
                  <a:lnTo>
                    <a:pt x="230" y="872"/>
                  </a:lnTo>
                  <a:lnTo>
                    <a:pt x="234" y="856"/>
                  </a:lnTo>
                  <a:lnTo>
                    <a:pt x="236" y="848"/>
                  </a:lnTo>
                  <a:lnTo>
                    <a:pt x="242" y="842"/>
                  </a:lnTo>
                  <a:lnTo>
                    <a:pt x="248" y="834"/>
                  </a:lnTo>
                  <a:lnTo>
                    <a:pt x="258" y="828"/>
                  </a:lnTo>
                  <a:lnTo>
                    <a:pt x="272" y="822"/>
                  </a:lnTo>
                  <a:lnTo>
                    <a:pt x="286" y="820"/>
                  </a:lnTo>
                  <a:lnTo>
                    <a:pt x="296" y="820"/>
                  </a:lnTo>
                  <a:lnTo>
                    <a:pt x="304" y="822"/>
                  </a:lnTo>
                  <a:lnTo>
                    <a:pt x="322" y="828"/>
                  </a:lnTo>
                  <a:lnTo>
                    <a:pt x="340" y="838"/>
                  </a:lnTo>
                  <a:lnTo>
                    <a:pt x="358" y="852"/>
                  </a:lnTo>
                  <a:lnTo>
                    <a:pt x="372" y="866"/>
                  </a:lnTo>
                  <a:lnTo>
                    <a:pt x="386" y="882"/>
                  </a:lnTo>
                  <a:lnTo>
                    <a:pt x="398" y="896"/>
                  </a:lnTo>
                  <a:lnTo>
                    <a:pt x="406" y="910"/>
                  </a:lnTo>
                  <a:lnTo>
                    <a:pt x="414" y="928"/>
                  </a:lnTo>
                  <a:lnTo>
                    <a:pt x="424" y="948"/>
                  </a:lnTo>
                  <a:lnTo>
                    <a:pt x="430" y="972"/>
                  </a:lnTo>
                  <a:lnTo>
                    <a:pt x="434" y="996"/>
                  </a:lnTo>
                  <a:lnTo>
                    <a:pt x="436" y="1022"/>
                  </a:lnTo>
                  <a:lnTo>
                    <a:pt x="434" y="1032"/>
                  </a:lnTo>
                  <a:lnTo>
                    <a:pt x="432" y="1044"/>
                  </a:lnTo>
                  <a:lnTo>
                    <a:pt x="428" y="1054"/>
                  </a:lnTo>
                  <a:lnTo>
                    <a:pt x="422" y="1062"/>
                  </a:lnTo>
                  <a:lnTo>
                    <a:pt x="414" y="1070"/>
                  </a:lnTo>
                  <a:lnTo>
                    <a:pt x="404" y="1076"/>
                  </a:lnTo>
                  <a:lnTo>
                    <a:pt x="390" y="1082"/>
                  </a:lnTo>
                  <a:lnTo>
                    <a:pt x="376" y="1084"/>
                  </a:lnTo>
                  <a:lnTo>
                    <a:pt x="366" y="1084"/>
                  </a:lnTo>
                  <a:lnTo>
                    <a:pt x="354" y="1080"/>
                  </a:lnTo>
                  <a:lnTo>
                    <a:pt x="336" y="1070"/>
                  </a:lnTo>
                  <a:lnTo>
                    <a:pt x="318" y="1060"/>
                  </a:lnTo>
                  <a:lnTo>
                    <a:pt x="308" y="1056"/>
                  </a:lnTo>
                  <a:lnTo>
                    <a:pt x="296" y="1054"/>
                  </a:lnTo>
                  <a:lnTo>
                    <a:pt x="284" y="1056"/>
                  </a:lnTo>
                  <a:lnTo>
                    <a:pt x="270" y="1062"/>
                  </a:lnTo>
                  <a:lnTo>
                    <a:pt x="264" y="1068"/>
                  </a:lnTo>
                  <a:lnTo>
                    <a:pt x="258" y="1076"/>
                  </a:lnTo>
                  <a:lnTo>
                    <a:pt x="256" y="1086"/>
                  </a:lnTo>
                  <a:lnTo>
                    <a:pt x="256" y="1096"/>
                  </a:lnTo>
                  <a:lnTo>
                    <a:pt x="258" y="1120"/>
                  </a:lnTo>
                  <a:lnTo>
                    <a:pt x="262" y="1142"/>
                  </a:lnTo>
                  <a:lnTo>
                    <a:pt x="402" y="1382"/>
                  </a:lnTo>
                  <a:lnTo>
                    <a:pt x="1200" y="1382"/>
                  </a:lnTo>
                  <a:lnTo>
                    <a:pt x="1600" y="690"/>
                  </a:lnTo>
                  <a:lnTo>
                    <a:pt x="1200" y="0"/>
                  </a:lnTo>
                  <a:lnTo>
                    <a:pt x="1200" y="2"/>
                  </a:lnTo>
                  <a:close/>
                </a:path>
              </a:pathLst>
            </a:custGeom>
            <a:solidFill>
              <a:schemeClr val="bg2"/>
            </a:solidFill>
            <a:ln w="38100" cap="flat" cmpd="sng">
              <a:solidFill>
                <a:srgbClr val="5F5F5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E"/>
            </a:p>
          </p:txBody>
        </p:sp>
        <p:sp>
          <p:nvSpPr>
            <p:cNvPr id="32787" name="Text Box 11"/>
            <p:cNvSpPr txBox="1">
              <a:spLocks noChangeArrowheads="1"/>
            </p:cNvSpPr>
            <p:nvPr/>
          </p:nvSpPr>
          <p:spPr bwMode="auto">
            <a:xfrm>
              <a:off x="3805" y="3123"/>
              <a:ext cx="785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5F5F5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GB" b="1">
                  <a:solidFill>
                    <a:srgbClr val="000000"/>
                  </a:solidFill>
                  <a:cs typeface="Arial" charset="0"/>
                </a:rPr>
                <a:t>Hospital</a:t>
              </a:r>
            </a:p>
          </p:txBody>
        </p:sp>
      </p:grpSp>
      <p:grpSp>
        <p:nvGrpSpPr>
          <p:cNvPr id="32774" name="Group 12"/>
          <p:cNvGrpSpPr>
            <a:grpSpLocks/>
          </p:cNvGrpSpPr>
          <p:nvPr/>
        </p:nvGrpSpPr>
        <p:grpSpPr bwMode="auto">
          <a:xfrm>
            <a:off x="3938588" y="4294188"/>
            <a:ext cx="1774825" cy="1508125"/>
            <a:chOff x="2428" y="3297"/>
            <a:chExt cx="1118" cy="950"/>
          </a:xfrm>
        </p:grpSpPr>
        <p:sp>
          <p:nvSpPr>
            <p:cNvPr id="32784" name="Freeform 13"/>
            <p:cNvSpPr>
              <a:spLocks/>
            </p:cNvSpPr>
            <p:nvPr/>
          </p:nvSpPr>
          <p:spPr bwMode="auto">
            <a:xfrm>
              <a:off x="2428" y="3297"/>
              <a:ext cx="1118" cy="950"/>
            </a:xfrm>
            <a:custGeom>
              <a:avLst/>
              <a:gdLst>
                <a:gd name="T0" fmla="*/ 352 w 1632"/>
                <a:gd name="T1" fmla="*/ 84 h 1386"/>
                <a:gd name="T2" fmla="*/ 358 w 1632"/>
                <a:gd name="T3" fmla="*/ 80 h 1386"/>
                <a:gd name="T4" fmla="*/ 360 w 1632"/>
                <a:gd name="T5" fmla="*/ 66 h 1386"/>
                <a:gd name="T6" fmla="*/ 352 w 1632"/>
                <a:gd name="T7" fmla="*/ 47 h 1386"/>
                <a:gd name="T8" fmla="*/ 346 w 1632"/>
                <a:gd name="T9" fmla="*/ 38 h 1386"/>
                <a:gd name="T10" fmla="*/ 332 w 1632"/>
                <a:gd name="T11" fmla="*/ 28 h 1386"/>
                <a:gd name="T12" fmla="*/ 325 w 1632"/>
                <a:gd name="T13" fmla="*/ 28 h 1386"/>
                <a:gd name="T14" fmla="*/ 318 w 1632"/>
                <a:gd name="T15" fmla="*/ 32 h 1386"/>
                <a:gd name="T16" fmla="*/ 316 w 1632"/>
                <a:gd name="T17" fmla="*/ 43 h 1386"/>
                <a:gd name="T18" fmla="*/ 313 w 1632"/>
                <a:gd name="T19" fmla="*/ 53 h 1386"/>
                <a:gd name="T20" fmla="*/ 308 w 1632"/>
                <a:gd name="T21" fmla="*/ 58 h 1386"/>
                <a:gd name="T22" fmla="*/ 303 w 1632"/>
                <a:gd name="T23" fmla="*/ 57 h 1386"/>
                <a:gd name="T24" fmla="*/ 264 w 1632"/>
                <a:gd name="T25" fmla="*/ 0 h 1386"/>
                <a:gd name="T26" fmla="*/ 196 w 1632"/>
                <a:gd name="T27" fmla="*/ 3 h 1386"/>
                <a:gd name="T28" fmla="*/ 190 w 1632"/>
                <a:gd name="T29" fmla="*/ 11 h 1386"/>
                <a:gd name="T30" fmla="*/ 192 w 1632"/>
                <a:gd name="T31" fmla="*/ 17 h 1386"/>
                <a:gd name="T32" fmla="*/ 202 w 1632"/>
                <a:gd name="T33" fmla="*/ 25 h 1386"/>
                <a:gd name="T34" fmla="*/ 208 w 1632"/>
                <a:gd name="T35" fmla="*/ 32 h 1386"/>
                <a:gd name="T36" fmla="*/ 207 w 1632"/>
                <a:gd name="T37" fmla="*/ 40 h 1386"/>
                <a:gd name="T38" fmla="*/ 201 w 1632"/>
                <a:gd name="T39" fmla="*/ 47 h 1386"/>
                <a:gd name="T40" fmla="*/ 181 w 1632"/>
                <a:gd name="T41" fmla="*/ 53 h 1386"/>
                <a:gd name="T42" fmla="*/ 167 w 1632"/>
                <a:gd name="T43" fmla="*/ 53 h 1386"/>
                <a:gd name="T44" fmla="*/ 150 w 1632"/>
                <a:gd name="T45" fmla="*/ 45 h 1386"/>
                <a:gd name="T46" fmla="*/ 145 w 1632"/>
                <a:gd name="T47" fmla="*/ 38 h 1386"/>
                <a:gd name="T48" fmla="*/ 145 w 1632"/>
                <a:gd name="T49" fmla="*/ 31 h 1386"/>
                <a:gd name="T50" fmla="*/ 153 w 1632"/>
                <a:gd name="T51" fmla="*/ 23 h 1386"/>
                <a:gd name="T52" fmla="*/ 161 w 1632"/>
                <a:gd name="T53" fmla="*/ 16 h 1386"/>
                <a:gd name="T54" fmla="*/ 162 w 1632"/>
                <a:gd name="T55" fmla="*/ 9 h 1386"/>
                <a:gd name="T56" fmla="*/ 151 w 1632"/>
                <a:gd name="T57" fmla="*/ 1 h 1386"/>
                <a:gd name="T58" fmla="*/ 54 w 1632"/>
                <a:gd name="T59" fmla="*/ 59 h 1386"/>
                <a:gd name="T60" fmla="*/ 53 w 1632"/>
                <a:gd name="T61" fmla="*/ 74 h 1386"/>
                <a:gd name="T62" fmla="*/ 58 w 1632"/>
                <a:gd name="T63" fmla="*/ 78 h 1386"/>
                <a:gd name="T64" fmla="*/ 68 w 1632"/>
                <a:gd name="T65" fmla="*/ 77 h 1386"/>
                <a:gd name="T66" fmla="*/ 79 w 1632"/>
                <a:gd name="T67" fmla="*/ 73 h 1386"/>
                <a:gd name="T68" fmla="*/ 86 w 1632"/>
                <a:gd name="T69" fmla="*/ 74 h 1386"/>
                <a:gd name="T70" fmla="*/ 92 w 1632"/>
                <a:gd name="T71" fmla="*/ 82 h 1386"/>
                <a:gd name="T72" fmla="*/ 92 w 1632"/>
                <a:gd name="T73" fmla="*/ 97 h 1386"/>
                <a:gd name="T74" fmla="*/ 86 w 1632"/>
                <a:gd name="T75" fmla="*/ 111 h 1386"/>
                <a:gd name="T76" fmla="*/ 73 w 1632"/>
                <a:gd name="T77" fmla="*/ 126 h 1386"/>
                <a:gd name="T78" fmla="*/ 60 w 1632"/>
                <a:gd name="T79" fmla="*/ 131 h 1386"/>
                <a:gd name="T80" fmla="*/ 54 w 1632"/>
                <a:gd name="T81" fmla="*/ 130 h 1386"/>
                <a:gd name="T82" fmla="*/ 49 w 1632"/>
                <a:gd name="T83" fmla="*/ 123 h 1386"/>
                <a:gd name="T84" fmla="*/ 47 w 1632"/>
                <a:gd name="T85" fmla="*/ 108 h 1386"/>
                <a:gd name="T86" fmla="*/ 42 w 1632"/>
                <a:gd name="T87" fmla="*/ 101 h 1386"/>
                <a:gd name="T88" fmla="*/ 36 w 1632"/>
                <a:gd name="T89" fmla="*/ 102 h 1386"/>
                <a:gd name="T90" fmla="*/ 1 w 1632"/>
                <a:gd name="T91" fmla="*/ 152 h 1386"/>
                <a:gd name="T92" fmla="*/ 264 w 1632"/>
                <a:gd name="T93" fmla="*/ 306 h 1386"/>
                <a:gd name="T94" fmla="*/ 321 w 1632"/>
                <a:gd name="T95" fmla="*/ 99 h 1386"/>
                <a:gd name="T96" fmla="*/ 321 w 1632"/>
                <a:gd name="T97" fmla="*/ 84 h 1386"/>
                <a:gd name="T98" fmla="*/ 326 w 1632"/>
                <a:gd name="T99" fmla="*/ 80 h 1386"/>
                <a:gd name="T100" fmla="*/ 334 w 1632"/>
                <a:gd name="T101" fmla="*/ 80 h 1386"/>
                <a:gd name="T102" fmla="*/ 347 w 1632"/>
                <a:gd name="T103" fmla="*/ 86 h 138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1632" h="1386">
                  <a:moveTo>
                    <a:pt x="1576" y="390"/>
                  </a:moveTo>
                  <a:lnTo>
                    <a:pt x="1576" y="390"/>
                  </a:lnTo>
                  <a:lnTo>
                    <a:pt x="1588" y="388"/>
                  </a:lnTo>
                  <a:lnTo>
                    <a:pt x="1602" y="382"/>
                  </a:lnTo>
                  <a:lnTo>
                    <a:pt x="1610" y="376"/>
                  </a:lnTo>
                  <a:lnTo>
                    <a:pt x="1618" y="368"/>
                  </a:lnTo>
                  <a:lnTo>
                    <a:pt x="1624" y="360"/>
                  </a:lnTo>
                  <a:lnTo>
                    <a:pt x="1628" y="350"/>
                  </a:lnTo>
                  <a:lnTo>
                    <a:pt x="1630" y="338"/>
                  </a:lnTo>
                  <a:lnTo>
                    <a:pt x="1632" y="328"/>
                  </a:lnTo>
                  <a:lnTo>
                    <a:pt x="1632" y="302"/>
                  </a:lnTo>
                  <a:lnTo>
                    <a:pt x="1626" y="278"/>
                  </a:lnTo>
                  <a:lnTo>
                    <a:pt x="1620" y="254"/>
                  </a:lnTo>
                  <a:lnTo>
                    <a:pt x="1612" y="234"/>
                  </a:lnTo>
                  <a:lnTo>
                    <a:pt x="1602" y="216"/>
                  </a:lnTo>
                  <a:lnTo>
                    <a:pt x="1594" y="202"/>
                  </a:lnTo>
                  <a:lnTo>
                    <a:pt x="1584" y="188"/>
                  </a:lnTo>
                  <a:lnTo>
                    <a:pt x="1570" y="172"/>
                  </a:lnTo>
                  <a:lnTo>
                    <a:pt x="1556" y="158"/>
                  </a:lnTo>
                  <a:lnTo>
                    <a:pt x="1540" y="146"/>
                  </a:lnTo>
                  <a:lnTo>
                    <a:pt x="1522" y="136"/>
                  </a:lnTo>
                  <a:lnTo>
                    <a:pt x="1504" y="128"/>
                  </a:lnTo>
                  <a:lnTo>
                    <a:pt x="1496" y="126"/>
                  </a:lnTo>
                  <a:lnTo>
                    <a:pt x="1486" y="126"/>
                  </a:lnTo>
                  <a:lnTo>
                    <a:pt x="1474" y="128"/>
                  </a:lnTo>
                  <a:lnTo>
                    <a:pt x="1460" y="134"/>
                  </a:lnTo>
                  <a:lnTo>
                    <a:pt x="1452" y="140"/>
                  </a:lnTo>
                  <a:lnTo>
                    <a:pt x="1444" y="148"/>
                  </a:lnTo>
                  <a:lnTo>
                    <a:pt x="1440" y="154"/>
                  </a:lnTo>
                  <a:lnTo>
                    <a:pt x="1436" y="162"/>
                  </a:lnTo>
                  <a:lnTo>
                    <a:pt x="1434" y="178"/>
                  </a:lnTo>
                  <a:lnTo>
                    <a:pt x="1434" y="196"/>
                  </a:lnTo>
                  <a:lnTo>
                    <a:pt x="1434" y="212"/>
                  </a:lnTo>
                  <a:lnTo>
                    <a:pt x="1432" y="228"/>
                  </a:lnTo>
                  <a:lnTo>
                    <a:pt x="1428" y="236"/>
                  </a:lnTo>
                  <a:lnTo>
                    <a:pt x="1422" y="244"/>
                  </a:lnTo>
                  <a:lnTo>
                    <a:pt x="1416" y="250"/>
                  </a:lnTo>
                  <a:lnTo>
                    <a:pt x="1406" y="258"/>
                  </a:lnTo>
                  <a:lnTo>
                    <a:pt x="1400" y="260"/>
                  </a:lnTo>
                  <a:lnTo>
                    <a:pt x="1392" y="260"/>
                  </a:lnTo>
                  <a:lnTo>
                    <a:pt x="1384" y="260"/>
                  </a:lnTo>
                  <a:lnTo>
                    <a:pt x="1376" y="258"/>
                  </a:lnTo>
                  <a:lnTo>
                    <a:pt x="1360" y="248"/>
                  </a:lnTo>
                  <a:lnTo>
                    <a:pt x="1344" y="236"/>
                  </a:lnTo>
                  <a:lnTo>
                    <a:pt x="1330" y="224"/>
                  </a:lnTo>
                  <a:lnTo>
                    <a:pt x="1200" y="0"/>
                  </a:lnTo>
                  <a:lnTo>
                    <a:pt x="936" y="0"/>
                  </a:lnTo>
                  <a:lnTo>
                    <a:pt x="914" y="8"/>
                  </a:lnTo>
                  <a:lnTo>
                    <a:pt x="890" y="18"/>
                  </a:lnTo>
                  <a:lnTo>
                    <a:pt x="880" y="24"/>
                  </a:lnTo>
                  <a:lnTo>
                    <a:pt x="872" y="32"/>
                  </a:lnTo>
                  <a:lnTo>
                    <a:pt x="866" y="40"/>
                  </a:lnTo>
                  <a:lnTo>
                    <a:pt x="864" y="48"/>
                  </a:lnTo>
                  <a:lnTo>
                    <a:pt x="866" y="60"/>
                  </a:lnTo>
                  <a:lnTo>
                    <a:pt x="868" y="70"/>
                  </a:lnTo>
                  <a:lnTo>
                    <a:pt x="872" y="78"/>
                  </a:lnTo>
                  <a:lnTo>
                    <a:pt x="876" y="84"/>
                  </a:lnTo>
                  <a:lnTo>
                    <a:pt x="890" y="96"/>
                  </a:lnTo>
                  <a:lnTo>
                    <a:pt x="904" y="104"/>
                  </a:lnTo>
                  <a:lnTo>
                    <a:pt x="918" y="112"/>
                  </a:lnTo>
                  <a:lnTo>
                    <a:pt x="932" y="122"/>
                  </a:lnTo>
                  <a:lnTo>
                    <a:pt x="936" y="130"/>
                  </a:lnTo>
                  <a:lnTo>
                    <a:pt x="940" y="138"/>
                  </a:lnTo>
                  <a:lnTo>
                    <a:pt x="944" y="146"/>
                  </a:lnTo>
                  <a:lnTo>
                    <a:pt x="944" y="158"/>
                  </a:lnTo>
                  <a:lnTo>
                    <a:pt x="944" y="170"/>
                  </a:lnTo>
                  <a:lnTo>
                    <a:pt x="940" y="180"/>
                  </a:lnTo>
                  <a:lnTo>
                    <a:pt x="936" y="190"/>
                  </a:lnTo>
                  <a:lnTo>
                    <a:pt x="928" y="198"/>
                  </a:lnTo>
                  <a:lnTo>
                    <a:pt x="920" y="206"/>
                  </a:lnTo>
                  <a:lnTo>
                    <a:pt x="912" y="212"/>
                  </a:lnTo>
                  <a:lnTo>
                    <a:pt x="890" y="224"/>
                  </a:lnTo>
                  <a:lnTo>
                    <a:pt x="866" y="232"/>
                  </a:lnTo>
                  <a:lnTo>
                    <a:pt x="842" y="238"/>
                  </a:lnTo>
                  <a:lnTo>
                    <a:pt x="820" y="242"/>
                  </a:lnTo>
                  <a:lnTo>
                    <a:pt x="800" y="242"/>
                  </a:lnTo>
                  <a:lnTo>
                    <a:pt x="782" y="242"/>
                  </a:lnTo>
                  <a:lnTo>
                    <a:pt x="758" y="238"/>
                  </a:lnTo>
                  <a:lnTo>
                    <a:pt x="734" y="232"/>
                  </a:lnTo>
                  <a:lnTo>
                    <a:pt x="710" y="224"/>
                  </a:lnTo>
                  <a:lnTo>
                    <a:pt x="690" y="212"/>
                  </a:lnTo>
                  <a:lnTo>
                    <a:pt x="680" y="206"/>
                  </a:lnTo>
                  <a:lnTo>
                    <a:pt x="672" y="198"/>
                  </a:lnTo>
                  <a:lnTo>
                    <a:pt x="666" y="190"/>
                  </a:lnTo>
                  <a:lnTo>
                    <a:pt x="660" y="180"/>
                  </a:lnTo>
                  <a:lnTo>
                    <a:pt x="658" y="170"/>
                  </a:lnTo>
                  <a:lnTo>
                    <a:pt x="656" y="158"/>
                  </a:lnTo>
                  <a:lnTo>
                    <a:pt x="658" y="146"/>
                  </a:lnTo>
                  <a:lnTo>
                    <a:pt x="660" y="138"/>
                  </a:lnTo>
                  <a:lnTo>
                    <a:pt x="664" y="130"/>
                  </a:lnTo>
                  <a:lnTo>
                    <a:pt x="670" y="122"/>
                  </a:lnTo>
                  <a:lnTo>
                    <a:pt x="682" y="112"/>
                  </a:lnTo>
                  <a:lnTo>
                    <a:pt x="696" y="104"/>
                  </a:lnTo>
                  <a:lnTo>
                    <a:pt x="712" y="96"/>
                  </a:lnTo>
                  <a:lnTo>
                    <a:pt x="724" y="84"/>
                  </a:lnTo>
                  <a:lnTo>
                    <a:pt x="730" y="78"/>
                  </a:lnTo>
                  <a:lnTo>
                    <a:pt x="732" y="70"/>
                  </a:lnTo>
                  <a:lnTo>
                    <a:pt x="736" y="60"/>
                  </a:lnTo>
                  <a:lnTo>
                    <a:pt x="736" y="48"/>
                  </a:lnTo>
                  <a:lnTo>
                    <a:pt x="734" y="40"/>
                  </a:lnTo>
                  <a:lnTo>
                    <a:pt x="728" y="32"/>
                  </a:lnTo>
                  <a:lnTo>
                    <a:pt x="720" y="24"/>
                  </a:lnTo>
                  <a:lnTo>
                    <a:pt x="710" y="18"/>
                  </a:lnTo>
                  <a:lnTo>
                    <a:pt x="688" y="8"/>
                  </a:lnTo>
                  <a:lnTo>
                    <a:pt x="666" y="0"/>
                  </a:lnTo>
                  <a:lnTo>
                    <a:pt x="402" y="0"/>
                  </a:lnTo>
                  <a:lnTo>
                    <a:pt x="248" y="268"/>
                  </a:lnTo>
                  <a:lnTo>
                    <a:pt x="242" y="290"/>
                  </a:lnTo>
                  <a:lnTo>
                    <a:pt x="240" y="314"/>
                  </a:lnTo>
                  <a:lnTo>
                    <a:pt x="240" y="326"/>
                  </a:lnTo>
                  <a:lnTo>
                    <a:pt x="242" y="336"/>
                  </a:lnTo>
                  <a:lnTo>
                    <a:pt x="248" y="344"/>
                  </a:lnTo>
                  <a:lnTo>
                    <a:pt x="254" y="350"/>
                  </a:lnTo>
                  <a:lnTo>
                    <a:pt x="264" y="356"/>
                  </a:lnTo>
                  <a:lnTo>
                    <a:pt x="274" y="358"/>
                  </a:lnTo>
                  <a:lnTo>
                    <a:pt x="284" y="358"/>
                  </a:lnTo>
                  <a:lnTo>
                    <a:pt x="292" y="358"/>
                  </a:lnTo>
                  <a:lnTo>
                    <a:pt x="308" y="352"/>
                  </a:lnTo>
                  <a:lnTo>
                    <a:pt x="322" y="344"/>
                  </a:lnTo>
                  <a:lnTo>
                    <a:pt x="336" y="336"/>
                  </a:lnTo>
                  <a:lnTo>
                    <a:pt x="352" y="330"/>
                  </a:lnTo>
                  <a:lnTo>
                    <a:pt x="360" y="328"/>
                  </a:lnTo>
                  <a:lnTo>
                    <a:pt x="370" y="328"/>
                  </a:lnTo>
                  <a:lnTo>
                    <a:pt x="378" y="332"/>
                  </a:lnTo>
                  <a:lnTo>
                    <a:pt x="390" y="336"/>
                  </a:lnTo>
                  <a:lnTo>
                    <a:pt x="398" y="342"/>
                  </a:lnTo>
                  <a:lnTo>
                    <a:pt x="406" y="350"/>
                  </a:lnTo>
                  <a:lnTo>
                    <a:pt x="412" y="358"/>
                  </a:lnTo>
                  <a:lnTo>
                    <a:pt x="416" y="368"/>
                  </a:lnTo>
                  <a:lnTo>
                    <a:pt x="418" y="380"/>
                  </a:lnTo>
                  <a:lnTo>
                    <a:pt x="420" y="392"/>
                  </a:lnTo>
                  <a:lnTo>
                    <a:pt x="418" y="416"/>
                  </a:lnTo>
                  <a:lnTo>
                    <a:pt x="414" y="440"/>
                  </a:lnTo>
                  <a:lnTo>
                    <a:pt x="408" y="464"/>
                  </a:lnTo>
                  <a:lnTo>
                    <a:pt x="400" y="486"/>
                  </a:lnTo>
                  <a:lnTo>
                    <a:pt x="390" y="502"/>
                  </a:lnTo>
                  <a:lnTo>
                    <a:pt x="380" y="518"/>
                  </a:lnTo>
                  <a:lnTo>
                    <a:pt x="366" y="536"/>
                  </a:lnTo>
                  <a:lnTo>
                    <a:pt x="348" y="554"/>
                  </a:lnTo>
                  <a:lnTo>
                    <a:pt x="330" y="570"/>
                  </a:lnTo>
                  <a:lnTo>
                    <a:pt x="308" y="584"/>
                  </a:lnTo>
                  <a:lnTo>
                    <a:pt x="298" y="588"/>
                  </a:lnTo>
                  <a:lnTo>
                    <a:pt x="288" y="592"/>
                  </a:lnTo>
                  <a:lnTo>
                    <a:pt x="276" y="592"/>
                  </a:lnTo>
                  <a:lnTo>
                    <a:pt x="266" y="592"/>
                  </a:lnTo>
                  <a:lnTo>
                    <a:pt x="256" y="590"/>
                  </a:lnTo>
                  <a:lnTo>
                    <a:pt x="246" y="586"/>
                  </a:lnTo>
                  <a:lnTo>
                    <a:pt x="236" y="578"/>
                  </a:lnTo>
                  <a:lnTo>
                    <a:pt x="230" y="572"/>
                  </a:lnTo>
                  <a:lnTo>
                    <a:pt x="224" y="564"/>
                  </a:lnTo>
                  <a:lnTo>
                    <a:pt x="222" y="556"/>
                  </a:lnTo>
                  <a:lnTo>
                    <a:pt x="218" y="540"/>
                  </a:lnTo>
                  <a:lnTo>
                    <a:pt x="218" y="522"/>
                  </a:lnTo>
                  <a:lnTo>
                    <a:pt x="218" y="506"/>
                  </a:lnTo>
                  <a:lnTo>
                    <a:pt x="216" y="490"/>
                  </a:lnTo>
                  <a:lnTo>
                    <a:pt x="212" y="482"/>
                  </a:lnTo>
                  <a:lnTo>
                    <a:pt x="206" y="474"/>
                  </a:lnTo>
                  <a:lnTo>
                    <a:pt x="200" y="468"/>
                  </a:lnTo>
                  <a:lnTo>
                    <a:pt x="190" y="460"/>
                  </a:lnTo>
                  <a:lnTo>
                    <a:pt x="182" y="458"/>
                  </a:lnTo>
                  <a:lnTo>
                    <a:pt x="172" y="458"/>
                  </a:lnTo>
                  <a:lnTo>
                    <a:pt x="162" y="462"/>
                  </a:lnTo>
                  <a:lnTo>
                    <a:pt x="152" y="466"/>
                  </a:lnTo>
                  <a:lnTo>
                    <a:pt x="132" y="480"/>
                  </a:lnTo>
                  <a:lnTo>
                    <a:pt x="116" y="496"/>
                  </a:lnTo>
                  <a:lnTo>
                    <a:pt x="4" y="688"/>
                  </a:lnTo>
                  <a:lnTo>
                    <a:pt x="2" y="688"/>
                  </a:lnTo>
                  <a:lnTo>
                    <a:pt x="0" y="694"/>
                  </a:lnTo>
                  <a:lnTo>
                    <a:pt x="400" y="1386"/>
                  </a:lnTo>
                  <a:lnTo>
                    <a:pt x="1200" y="1386"/>
                  </a:lnTo>
                  <a:lnTo>
                    <a:pt x="1600" y="694"/>
                  </a:lnTo>
                  <a:lnTo>
                    <a:pt x="1598" y="688"/>
                  </a:lnTo>
                  <a:lnTo>
                    <a:pt x="1458" y="448"/>
                  </a:lnTo>
                  <a:lnTo>
                    <a:pt x="1454" y="426"/>
                  </a:lnTo>
                  <a:lnTo>
                    <a:pt x="1452" y="402"/>
                  </a:lnTo>
                  <a:lnTo>
                    <a:pt x="1454" y="392"/>
                  </a:lnTo>
                  <a:lnTo>
                    <a:pt x="1456" y="382"/>
                  </a:lnTo>
                  <a:lnTo>
                    <a:pt x="1460" y="374"/>
                  </a:lnTo>
                  <a:lnTo>
                    <a:pt x="1466" y="368"/>
                  </a:lnTo>
                  <a:lnTo>
                    <a:pt x="1482" y="362"/>
                  </a:lnTo>
                  <a:lnTo>
                    <a:pt x="1496" y="360"/>
                  </a:lnTo>
                  <a:lnTo>
                    <a:pt x="1508" y="360"/>
                  </a:lnTo>
                  <a:lnTo>
                    <a:pt x="1518" y="364"/>
                  </a:lnTo>
                  <a:lnTo>
                    <a:pt x="1536" y="374"/>
                  </a:lnTo>
                  <a:lnTo>
                    <a:pt x="1556" y="384"/>
                  </a:lnTo>
                  <a:lnTo>
                    <a:pt x="1566" y="388"/>
                  </a:lnTo>
                  <a:lnTo>
                    <a:pt x="1576" y="390"/>
                  </a:lnTo>
                  <a:close/>
                </a:path>
              </a:pathLst>
            </a:custGeom>
            <a:solidFill>
              <a:srgbClr val="EF43AF"/>
            </a:solidFill>
            <a:ln w="38100" cap="flat" cmpd="sng">
              <a:solidFill>
                <a:srgbClr val="5F5F5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E"/>
            </a:p>
          </p:txBody>
        </p:sp>
        <p:sp>
          <p:nvSpPr>
            <p:cNvPr id="32785" name="Text Box 14"/>
            <p:cNvSpPr txBox="1">
              <a:spLocks noChangeArrowheads="1"/>
            </p:cNvSpPr>
            <p:nvPr/>
          </p:nvSpPr>
          <p:spPr bwMode="auto">
            <a:xfrm>
              <a:off x="2617" y="3585"/>
              <a:ext cx="785" cy="4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5F5F5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GB" b="1">
                  <a:solidFill>
                    <a:srgbClr val="000000"/>
                  </a:solidFill>
                  <a:cs typeface="Arial" charset="0"/>
                </a:rPr>
                <a:t>Patient Home</a:t>
              </a:r>
            </a:p>
          </p:txBody>
        </p:sp>
      </p:grpSp>
      <p:grpSp>
        <p:nvGrpSpPr>
          <p:cNvPr id="251919" name="Group 15"/>
          <p:cNvGrpSpPr>
            <a:grpSpLocks/>
          </p:cNvGrpSpPr>
          <p:nvPr/>
        </p:nvGrpSpPr>
        <p:grpSpPr bwMode="auto">
          <a:xfrm>
            <a:off x="3873500" y="2533650"/>
            <a:ext cx="1839913" cy="2025650"/>
            <a:chOff x="4601" y="1159"/>
            <a:chExt cx="1159" cy="1276"/>
          </a:xfrm>
        </p:grpSpPr>
        <p:sp>
          <p:nvSpPr>
            <p:cNvPr id="32782" name="Freeform 16"/>
            <p:cNvSpPr>
              <a:spLocks/>
            </p:cNvSpPr>
            <p:nvPr/>
          </p:nvSpPr>
          <p:spPr bwMode="auto">
            <a:xfrm>
              <a:off x="4601" y="1159"/>
              <a:ext cx="1159" cy="1276"/>
            </a:xfrm>
            <a:custGeom>
              <a:avLst/>
              <a:gdLst>
                <a:gd name="T0" fmla="*/ 202 w 1690"/>
                <a:gd name="T1" fmla="*/ 45 h 1862"/>
                <a:gd name="T2" fmla="*/ 207 w 1690"/>
                <a:gd name="T3" fmla="*/ 32 h 1862"/>
                <a:gd name="T4" fmla="*/ 219 w 1690"/>
                <a:gd name="T5" fmla="*/ 19 h 1862"/>
                <a:gd name="T6" fmla="*/ 212 w 1690"/>
                <a:gd name="T7" fmla="*/ 7 h 1862"/>
                <a:gd name="T8" fmla="*/ 183 w 1690"/>
                <a:gd name="T9" fmla="*/ 0 h 1862"/>
                <a:gd name="T10" fmla="*/ 158 w 1690"/>
                <a:gd name="T11" fmla="*/ 12 h 1862"/>
                <a:gd name="T12" fmla="*/ 157 w 1690"/>
                <a:gd name="T13" fmla="*/ 25 h 1862"/>
                <a:gd name="T14" fmla="*/ 172 w 1690"/>
                <a:gd name="T15" fmla="*/ 38 h 1862"/>
                <a:gd name="T16" fmla="*/ 167 w 1690"/>
                <a:gd name="T17" fmla="*/ 50 h 1862"/>
                <a:gd name="T18" fmla="*/ 59 w 1690"/>
                <a:gd name="T19" fmla="*/ 113 h 1862"/>
                <a:gd name="T20" fmla="*/ 47 w 1690"/>
                <a:gd name="T21" fmla="*/ 112 h 1862"/>
                <a:gd name="T22" fmla="*/ 43 w 1690"/>
                <a:gd name="T23" fmla="*/ 92 h 1862"/>
                <a:gd name="T24" fmla="*/ 32 w 1690"/>
                <a:gd name="T25" fmla="*/ 86 h 1862"/>
                <a:gd name="T26" fmla="*/ 9 w 1690"/>
                <a:gd name="T27" fmla="*/ 102 h 1862"/>
                <a:gd name="T28" fmla="*/ 0 w 1690"/>
                <a:gd name="T29" fmla="*/ 130 h 1862"/>
                <a:gd name="T30" fmla="*/ 7 w 1690"/>
                <a:gd name="T31" fmla="*/ 142 h 1862"/>
                <a:gd name="T32" fmla="*/ 25 w 1690"/>
                <a:gd name="T33" fmla="*/ 138 h 1862"/>
                <a:gd name="T34" fmla="*/ 38 w 1690"/>
                <a:gd name="T35" fmla="*/ 140 h 1862"/>
                <a:gd name="T36" fmla="*/ 40 w 1690"/>
                <a:gd name="T37" fmla="*/ 254 h 1862"/>
                <a:gd name="T38" fmla="*/ 38 w 1690"/>
                <a:gd name="T39" fmla="*/ 272 h 1862"/>
                <a:gd name="T40" fmla="*/ 23 w 1690"/>
                <a:gd name="T41" fmla="*/ 271 h 1862"/>
                <a:gd name="T42" fmla="*/ 8 w 1690"/>
                <a:gd name="T43" fmla="*/ 269 h 1862"/>
                <a:gd name="T44" fmla="*/ 1 w 1690"/>
                <a:gd name="T45" fmla="*/ 287 h 1862"/>
                <a:gd name="T46" fmla="*/ 13 w 1690"/>
                <a:gd name="T47" fmla="*/ 314 h 1862"/>
                <a:gd name="T48" fmla="*/ 35 w 1690"/>
                <a:gd name="T49" fmla="*/ 326 h 1862"/>
                <a:gd name="T50" fmla="*/ 45 w 1690"/>
                <a:gd name="T51" fmla="*/ 318 h 1862"/>
                <a:gd name="T52" fmla="*/ 50 w 1690"/>
                <a:gd name="T53" fmla="*/ 299 h 1862"/>
                <a:gd name="T54" fmla="*/ 65 w 1690"/>
                <a:gd name="T55" fmla="*/ 302 h 1862"/>
                <a:gd name="T56" fmla="*/ 169 w 1690"/>
                <a:gd name="T57" fmla="*/ 363 h 1862"/>
                <a:gd name="T58" fmla="*/ 171 w 1690"/>
                <a:gd name="T59" fmla="*/ 375 h 1862"/>
                <a:gd name="T60" fmla="*/ 156 w 1690"/>
                <a:gd name="T61" fmla="*/ 388 h 1862"/>
                <a:gd name="T62" fmla="*/ 158 w 1690"/>
                <a:gd name="T63" fmla="*/ 401 h 1862"/>
                <a:gd name="T64" fmla="*/ 187 w 1690"/>
                <a:gd name="T65" fmla="*/ 410 h 1862"/>
                <a:gd name="T66" fmla="*/ 213 w 1690"/>
                <a:gd name="T67" fmla="*/ 402 h 1862"/>
                <a:gd name="T68" fmla="*/ 219 w 1690"/>
                <a:gd name="T69" fmla="*/ 389 h 1862"/>
                <a:gd name="T70" fmla="*/ 204 w 1690"/>
                <a:gd name="T71" fmla="*/ 376 h 1862"/>
                <a:gd name="T72" fmla="*/ 203 w 1690"/>
                <a:gd name="T73" fmla="*/ 365 h 1862"/>
                <a:gd name="T74" fmla="*/ 307 w 1690"/>
                <a:gd name="T75" fmla="*/ 304 h 1862"/>
                <a:gd name="T76" fmla="*/ 322 w 1690"/>
                <a:gd name="T77" fmla="*/ 297 h 1862"/>
                <a:gd name="T78" fmla="*/ 328 w 1690"/>
                <a:gd name="T79" fmla="*/ 316 h 1862"/>
                <a:gd name="T80" fmla="*/ 336 w 1690"/>
                <a:gd name="T81" fmla="*/ 326 h 1862"/>
                <a:gd name="T82" fmla="*/ 357 w 1690"/>
                <a:gd name="T83" fmla="*/ 319 h 1862"/>
                <a:gd name="T84" fmla="*/ 372 w 1690"/>
                <a:gd name="T85" fmla="*/ 293 h 1862"/>
                <a:gd name="T86" fmla="*/ 368 w 1690"/>
                <a:gd name="T87" fmla="*/ 271 h 1862"/>
                <a:gd name="T88" fmla="*/ 355 w 1690"/>
                <a:gd name="T89" fmla="*/ 270 h 1862"/>
                <a:gd name="T90" fmla="*/ 336 w 1690"/>
                <a:gd name="T91" fmla="*/ 273 h 1862"/>
                <a:gd name="T92" fmla="*/ 334 w 1690"/>
                <a:gd name="T93" fmla="*/ 257 h 1862"/>
                <a:gd name="T94" fmla="*/ 335 w 1690"/>
                <a:gd name="T95" fmla="*/ 140 h 1862"/>
                <a:gd name="T96" fmla="*/ 345 w 1690"/>
                <a:gd name="T97" fmla="*/ 135 h 1862"/>
                <a:gd name="T98" fmla="*/ 364 w 1690"/>
                <a:gd name="T99" fmla="*/ 141 h 1862"/>
                <a:gd name="T100" fmla="*/ 374 w 1690"/>
                <a:gd name="T101" fmla="*/ 130 h 1862"/>
                <a:gd name="T102" fmla="*/ 367 w 1690"/>
                <a:gd name="T103" fmla="*/ 103 h 1862"/>
                <a:gd name="T104" fmla="*/ 344 w 1690"/>
                <a:gd name="T105" fmla="*/ 83 h 1862"/>
                <a:gd name="T106" fmla="*/ 331 w 1690"/>
                <a:gd name="T107" fmla="*/ 88 h 1862"/>
                <a:gd name="T108" fmla="*/ 328 w 1690"/>
                <a:gd name="T109" fmla="*/ 108 h 1862"/>
                <a:gd name="T110" fmla="*/ 317 w 1690"/>
                <a:gd name="T111" fmla="*/ 112 h 186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90" h="1862">
                  <a:moveTo>
                    <a:pt x="982" y="242"/>
                  </a:moveTo>
                  <a:lnTo>
                    <a:pt x="982" y="242"/>
                  </a:lnTo>
                  <a:lnTo>
                    <a:pt x="960" y="236"/>
                  </a:lnTo>
                  <a:lnTo>
                    <a:pt x="936" y="224"/>
                  </a:lnTo>
                  <a:lnTo>
                    <a:pt x="926" y="218"/>
                  </a:lnTo>
                  <a:lnTo>
                    <a:pt x="918" y="212"/>
                  </a:lnTo>
                  <a:lnTo>
                    <a:pt x="912" y="202"/>
                  </a:lnTo>
                  <a:lnTo>
                    <a:pt x="910" y="194"/>
                  </a:lnTo>
                  <a:lnTo>
                    <a:pt x="912" y="182"/>
                  </a:lnTo>
                  <a:lnTo>
                    <a:pt x="914" y="172"/>
                  </a:lnTo>
                  <a:lnTo>
                    <a:pt x="918" y="164"/>
                  </a:lnTo>
                  <a:lnTo>
                    <a:pt x="922" y="158"/>
                  </a:lnTo>
                  <a:lnTo>
                    <a:pt x="936" y="146"/>
                  </a:lnTo>
                  <a:lnTo>
                    <a:pt x="950" y="138"/>
                  </a:lnTo>
                  <a:lnTo>
                    <a:pt x="964" y="130"/>
                  </a:lnTo>
                  <a:lnTo>
                    <a:pt x="978" y="120"/>
                  </a:lnTo>
                  <a:lnTo>
                    <a:pt x="982" y="112"/>
                  </a:lnTo>
                  <a:lnTo>
                    <a:pt x="986" y="104"/>
                  </a:lnTo>
                  <a:lnTo>
                    <a:pt x="990" y="96"/>
                  </a:lnTo>
                  <a:lnTo>
                    <a:pt x="990" y="84"/>
                  </a:lnTo>
                  <a:lnTo>
                    <a:pt x="990" y="72"/>
                  </a:lnTo>
                  <a:lnTo>
                    <a:pt x="986" y="62"/>
                  </a:lnTo>
                  <a:lnTo>
                    <a:pt x="982" y="54"/>
                  </a:lnTo>
                  <a:lnTo>
                    <a:pt x="974" y="44"/>
                  </a:lnTo>
                  <a:lnTo>
                    <a:pt x="966" y="36"/>
                  </a:lnTo>
                  <a:lnTo>
                    <a:pt x="958" y="30"/>
                  </a:lnTo>
                  <a:lnTo>
                    <a:pt x="936" y="18"/>
                  </a:lnTo>
                  <a:lnTo>
                    <a:pt x="912" y="10"/>
                  </a:lnTo>
                  <a:lnTo>
                    <a:pt x="888" y="4"/>
                  </a:lnTo>
                  <a:lnTo>
                    <a:pt x="866" y="0"/>
                  </a:lnTo>
                  <a:lnTo>
                    <a:pt x="846" y="0"/>
                  </a:lnTo>
                  <a:lnTo>
                    <a:pt x="828" y="0"/>
                  </a:lnTo>
                  <a:lnTo>
                    <a:pt x="804" y="4"/>
                  </a:lnTo>
                  <a:lnTo>
                    <a:pt x="780" y="10"/>
                  </a:lnTo>
                  <a:lnTo>
                    <a:pt x="756" y="18"/>
                  </a:lnTo>
                  <a:lnTo>
                    <a:pt x="736" y="30"/>
                  </a:lnTo>
                  <a:lnTo>
                    <a:pt x="726" y="36"/>
                  </a:lnTo>
                  <a:lnTo>
                    <a:pt x="718" y="44"/>
                  </a:lnTo>
                  <a:lnTo>
                    <a:pt x="712" y="54"/>
                  </a:lnTo>
                  <a:lnTo>
                    <a:pt x="706" y="62"/>
                  </a:lnTo>
                  <a:lnTo>
                    <a:pt x="704" y="72"/>
                  </a:lnTo>
                  <a:lnTo>
                    <a:pt x="702" y="84"/>
                  </a:lnTo>
                  <a:lnTo>
                    <a:pt x="704" y="96"/>
                  </a:lnTo>
                  <a:lnTo>
                    <a:pt x="706" y="104"/>
                  </a:lnTo>
                  <a:lnTo>
                    <a:pt x="710" y="112"/>
                  </a:lnTo>
                  <a:lnTo>
                    <a:pt x="716" y="120"/>
                  </a:lnTo>
                  <a:lnTo>
                    <a:pt x="728" y="130"/>
                  </a:lnTo>
                  <a:lnTo>
                    <a:pt x="742" y="138"/>
                  </a:lnTo>
                  <a:lnTo>
                    <a:pt x="758" y="146"/>
                  </a:lnTo>
                  <a:lnTo>
                    <a:pt x="770" y="158"/>
                  </a:lnTo>
                  <a:lnTo>
                    <a:pt x="776" y="164"/>
                  </a:lnTo>
                  <a:lnTo>
                    <a:pt x="778" y="172"/>
                  </a:lnTo>
                  <a:lnTo>
                    <a:pt x="782" y="182"/>
                  </a:lnTo>
                  <a:lnTo>
                    <a:pt x="782" y="194"/>
                  </a:lnTo>
                  <a:lnTo>
                    <a:pt x="780" y="202"/>
                  </a:lnTo>
                  <a:lnTo>
                    <a:pt x="774" y="212"/>
                  </a:lnTo>
                  <a:lnTo>
                    <a:pt x="766" y="218"/>
                  </a:lnTo>
                  <a:lnTo>
                    <a:pt x="756" y="224"/>
                  </a:lnTo>
                  <a:lnTo>
                    <a:pt x="734" y="236"/>
                  </a:lnTo>
                  <a:lnTo>
                    <a:pt x="712" y="242"/>
                  </a:lnTo>
                  <a:lnTo>
                    <a:pt x="446" y="238"/>
                  </a:lnTo>
                  <a:lnTo>
                    <a:pt x="306" y="484"/>
                  </a:lnTo>
                  <a:lnTo>
                    <a:pt x="288" y="500"/>
                  </a:lnTo>
                  <a:lnTo>
                    <a:pt x="268" y="514"/>
                  </a:lnTo>
                  <a:lnTo>
                    <a:pt x="258" y="518"/>
                  </a:lnTo>
                  <a:lnTo>
                    <a:pt x="248" y="522"/>
                  </a:lnTo>
                  <a:lnTo>
                    <a:pt x="238" y="522"/>
                  </a:lnTo>
                  <a:lnTo>
                    <a:pt x="230" y="520"/>
                  </a:lnTo>
                  <a:lnTo>
                    <a:pt x="220" y="514"/>
                  </a:lnTo>
                  <a:lnTo>
                    <a:pt x="212" y="506"/>
                  </a:lnTo>
                  <a:lnTo>
                    <a:pt x="208" y="498"/>
                  </a:lnTo>
                  <a:lnTo>
                    <a:pt x="204" y="490"/>
                  </a:lnTo>
                  <a:lnTo>
                    <a:pt x="200" y="474"/>
                  </a:lnTo>
                  <a:lnTo>
                    <a:pt x="200" y="458"/>
                  </a:lnTo>
                  <a:lnTo>
                    <a:pt x="200" y="442"/>
                  </a:lnTo>
                  <a:lnTo>
                    <a:pt x="198" y="424"/>
                  </a:lnTo>
                  <a:lnTo>
                    <a:pt x="196" y="416"/>
                  </a:lnTo>
                  <a:lnTo>
                    <a:pt x="190" y="410"/>
                  </a:lnTo>
                  <a:lnTo>
                    <a:pt x="184" y="402"/>
                  </a:lnTo>
                  <a:lnTo>
                    <a:pt x="174" y="396"/>
                  </a:lnTo>
                  <a:lnTo>
                    <a:pt x="164" y="390"/>
                  </a:lnTo>
                  <a:lnTo>
                    <a:pt x="154" y="388"/>
                  </a:lnTo>
                  <a:lnTo>
                    <a:pt x="142" y="388"/>
                  </a:lnTo>
                  <a:lnTo>
                    <a:pt x="132" y="390"/>
                  </a:lnTo>
                  <a:lnTo>
                    <a:pt x="122" y="392"/>
                  </a:lnTo>
                  <a:lnTo>
                    <a:pt x="110" y="398"/>
                  </a:lnTo>
                  <a:lnTo>
                    <a:pt x="90" y="410"/>
                  </a:lnTo>
                  <a:lnTo>
                    <a:pt x="70" y="426"/>
                  </a:lnTo>
                  <a:lnTo>
                    <a:pt x="54" y="444"/>
                  </a:lnTo>
                  <a:lnTo>
                    <a:pt x="40" y="462"/>
                  </a:lnTo>
                  <a:lnTo>
                    <a:pt x="30" y="478"/>
                  </a:lnTo>
                  <a:lnTo>
                    <a:pt x="20" y="496"/>
                  </a:lnTo>
                  <a:lnTo>
                    <a:pt x="12" y="516"/>
                  </a:lnTo>
                  <a:lnTo>
                    <a:pt x="4" y="540"/>
                  </a:lnTo>
                  <a:lnTo>
                    <a:pt x="0" y="566"/>
                  </a:lnTo>
                  <a:lnTo>
                    <a:pt x="0" y="590"/>
                  </a:lnTo>
                  <a:lnTo>
                    <a:pt x="2" y="602"/>
                  </a:lnTo>
                  <a:lnTo>
                    <a:pt x="4" y="612"/>
                  </a:lnTo>
                  <a:lnTo>
                    <a:pt x="8" y="622"/>
                  </a:lnTo>
                  <a:lnTo>
                    <a:pt x="14" y="630"/>
                  </a:lnTo>
                  <a:lnTo>
                    <a:pt x="20" y="638"/>
                  </a:lnTo>
                  <a:lnTo>
                    <a:pt x="30" y="644"/>
                  </a:lnTo>
                  <a:lnTo>
                    <a:pt x="40" y="650"/>
                  </a:lnTo>
                  <a:lnTo>
                    <a:pt x="50" y="652"/>
                  </a:lnTo>
                  <a:lnTo>
                    <a:pt x="58" y="652"/>
                  </a:lnTo>
                  <a:lnTo>
                    <a:pt x="68" y="652"/>
                  </a:lnTo>
                  <a:lnTo>
                    <a:pt x="82" y="646"/>
                  </a:lnTo>
                  <a:lnTo>
                    <a:pt x="98" y="638"/>
                  </a:lnTo>
                  <a:lnTo>
                    <a:pt x="112" y="628"/>
                  </a:lnTo>
                  <a:lnTo>
                    <a:pt x="128" y="624"/>
                  </a:lnTo>
                  <a:lnTo>
                    <a:pt x="136" y="622"/>
                  </a:lnTo>
                  <a:lnTo>
                    <a:pt x="144" y="622"/>
                  </a:lnTo>
                  <a:lnTo>
                    <a:pt x="154" y="626"/>
                  </a:lnTo>
                  <a:lnTo>
                    <a:pt x="166" y="630"/>
                  </a:lnTo>
                  <a:lnTo>
                    <a:pt x="172" y="636"/>
                  </a:lnTo>
                  <a:lnTo>
                    <a:pt x="176" y="646"/>
                  </a:lnTo>
                  <a:lnTo>
                    <a:pt x="178" y="656"/>
                  </a:lnTo>
                  <a:lnTo>
                    <a:pt x="180" y="668"/>
                  </a:lnTo>
                  <a:lnTo>
                    <a:pt x="176" y="692"/>
                  </a:lnTo>
                  <a:lnTo>
                    <a:pt x="172" y="714"/>
                  </a:lnTo>
                  <a:lnTo>
                    <a:pt x="48" y="928"/>
                  </a:lnTo>
                  <a:lnTo>
                    <a:pt x="178" y="1152"/>
                  </a:lnTo>
                  <a:lnTo>
                    <a:pt x="184" y="1174"/>
                  </a:lnTo>
                  <a:lnTo>
                    <a:pt x="186" y="1200"/>
                  </a:lnTo>
                  <a:lnTo>
                    <a:pt x="186" y="1212"/>
                  </a:lnTo>
                  <a:lnTo>
                    <a:pt x="184" y="1222"/>
                  </a:lnTo>
                  <a:lnTo>
                    <a:pt x="178" y="1230"/>
                  </a:lnTo>
                  <a:lnTo>
                    <a:pt x="172" y="1236"/>
                  </a:lnTo>
                  <a:lnTo>
                    <a:pt x="162" y="1242"/>
                  </a:lnTo>
                  <a:lnTo>
                    <a:pt x="152" y="1244"/>
                  </a:lnTo>
                  <a:lnTo>
                    <a:pt x="142" y="1246"/>
                  </a:lnTo>
                  <a:lnTo>
                    <a:pt x="134" y="1244"/>
                  </a:lnTo>
                  <a:lnTo>
                    <a:pt x="118" y="1238"/>
                  </a:lnTo>
                  <a:lnTo>
                    <a:pt x="104" y="1230"/>
                  </a:lnTo>
                  <a:lnTo>
                    <a:pt x="90" y="1222"/>
                  </a:lnTo>
                  <a:lnTo>
                    <a:pt x="74" y="1216"/>
                  </a:lnTo>
                  <a:lnTo>
                    <a:pt x="66" y="1214"/>
                  </a:lnTo>
                  <a:lnTo>
                    <a:pt x="56" y="1216"/>
                  </a:lnTo>
                  <a:lnTo>
                    <a:pt x="48" y="1218"/>
                  </a:lnTo>
                  <a:lnTo>
                    <a:pt x="36" y="1222"/>
                  </a:lnTo>
                  <a:lnTo>
                    <a:pt x="28" y="1228"/>
                  </a:lnTo>
                  <a:lnTo>
                    <a:pt x="20" y="1236"/>
                  </a:lnTo>
                  <a:lnTo>
                    <a:pt x="14" y="1246"/>
                  </a:lnTo>
                  <a:lnTo>
                    <a:pt x="10" y="1256"/>
                  </a:lnTo>
                  <a:lnTo>
                    <a:pt x="8" y="1266"/>
                  </a:lnTo>
                  <a:lnTo>
                    <a:pt x="6" y="1278"/>
                  </a:lnTo>
                  <a:lnTo>
                    <a:pt x="6" y="1302"/>
                  </a:lnTo>
                  <a:lnTo>
                    <a:pt x="12" y="1328"/>
                  </a:lnTo>
                  <a:lnTo>
                    <a:pt x="18" y="1350"/>
                  </a:lnTo>
                  <a:lnTo>
                    <a:pt x="26" y="1372"/>
                  </a:lnTo>
                  <a:lnTo>
                    <a:pt x="36" y="1390"/>
                  </a:lnTo>
                  <a:lnTo>
                    <a:pt x="46" y="1406"/>
                  </a:lnTo>
                  <a:lnTo>
                    <a:pt x="60" y="1424"/>
                  </a:lnTo>
                  <a:lnTo>
                    <a:pt x="78" y="1442"/>
                  </a:lnTo>
                  <a:lnTo>
                    <a:pt x="96" y="1458"/>
                  </a:lnTo>
                  <a:lnTo>
                    <a:pt x="118" y="1470"/>
                  </a:lnTo>
                  <a:lnTo>
                    <a:pt x="128" y="1474"/>
                  </a:lnTo>
                  <a:lnTo>
                    <a:pt x="138" y="1478"/>
                  </a:lnTo>
                  <a:lnTo>
                    <a:pt x="150" y="1480"/>
                  </a:lnTo>
                  <a:lnTo>
                    <a:pt x="160" y="1480"/>
                  </a:lnTo>
                  <a:lnTo>
                    <a:pt x="170" y="1476"/>
                  </a:lnTo>
                  <a:lnTo>
                    <a:pt x="180" y="1472"/>
                  </a:lnTo>
                  <a:lnTo>
                    <a:pt x="190" y="1466"/>
                  </a:lnTo>
                  <a:lnTo>
                    <a:pt x="196" y="1458"/>
                  </a:lnTo>
                  <a:lnTo>
                    <a:pt x="202" y="1450"/>
                  </a:lnTo>
                  <a:lnTo>
                    <a:pt x="204" y="1442"/>
                  </a:lnTo>
                  <a:lnTo>
                    <a:pt x="208" y="1426"/>
                  </a:lnTo>
                  <a:lnTo>
                    <a:pt x="208" y="1410"/>
                  </a:lnTo>
                  <a:lnTo>
                    <a:pt x="208" y="1392"/>
                  </a:lnTo>
                  <a:lnTo>
                    <a:pt x="210" y="1376"/>
                  </a:lnTo>
                  <a:lnTo>
                    <a:pt x="214" y="1368"/>
                  </a:lnTo>
                  <a:lnTo>
                    <a:pt x="218" y="1362"/>
                  </a:lnTo>
                  <a:lnTo>
                    <a:pt x="226" y="1354"/>
                  </a:lnTo>
                  <a:lnTo>
                    <a:pt x="236" y="1348"/>
                  </a:lnTo>
                  <a:lnTo>
                    <a:pt x="244" y="1344"/>
                  </a:lnTo>
                  <a:lnTo>
                    <a:pt x="254" y="1346"/>
                  </a:lnTo>
                  <a:lnTo>
                    <a:pt x="264" y="1348"/>
                  </a:lnTo>
                  <a:lnTo>
                    <a:pt x="276" y="1354"/>
                  </a:lnTo>
                  <a:lnTo>
                    <a:pt x="296" y="1368"/>
                  </a:lnTo>
                  <a:lnTo>
                    <a:pt x="312" y="1384"/>
                  </a:lnTo>
                  <a:lnTo>
                    <a:pt x="448" y="1620"/>
                  </a:lnTo>
                  <a:lnTo>
                    <a:pt x="712" y="1620"/>
                  </a:lnTo>
                  <a:lnTo>
                    <a:pt x="734" y="1628"/>
                  </a:lnTo>
                  <a:lnTo>
                    <a:pt x="756" y="1638"/>
                  </a:lnTo>
                  <a:lnTo>
                    <a:pt x="766" y="1644"/>
                  </a:lnTo>
                  <a:lnTo>
                    <a:pt x="774" y="1652"/>
                  </a:lnTo>
                  <a:lnTo>
                    <a:pt x="780" y="1660"/>
                  </a:lnTo>
                  <a:lnTo>
                    <a:pt x="782" y="1668"/>
                  </a:lnTo>
                  <a:lnTo>
                    <a:pt x="782" y="1680"/>
                  </a:lnTo>
                  <a:lnTo>
                    <a:pt x="778" y="1690"/>
                  </a:lnTo>
                  <a:lnTo>
                    <a:pt x="776" y="1698"/>
                  </a:lnTo>
                  <a:lnTo>
                    <a:pt x="770" y="1704"/>
                  </a:lnTo>
                  <a:lnTo>
                    <a:pt x="758" y="1716"/>
                  </a:lnTo>
                  <a:lnTo>
                    <a:pt x="742" y="1724"/>
                  </a:lnTo>
                  <a:lnTo>
                    <a:pt x="728" y="1732"/>
                  </a:lnTo>
                  <a:lnTo>
                    <a:pt x="716" y="1742"/>
                  </a:lnTo>
                  <a:lnTo>
                    <a:pt x="710" y="1750"/>
                  </a:lnTo>
                  <a:lnTo>
                    <a:pt x="706" y="1758"/>
                  </a:lnTo>
                  <a:lnTo>
                    <a:pt x="704" y="1766"/>
                  </a:lnTo>
                  <a:lnTo>
                    <a:pt x="702" y="1778"/>
                  </a:lnTo>
                  <a:lnTo>
                    <a:pt x="704" y="1790"/>
                  </a:lnTo>
                  <a:lnTo>
                    <a:pt x="706" y="1800"/>
                  </a:lnTo>
                  <a:lnTo>
                    <a:pt x="712" y="1810"/>
                  </a:lnTo>
                  <a:lnTo>
                    <a:pt x="718" y="1818"/>
                  </a:lnTo>
                  <a:lnTo>
                    <a:pt x="726" y="1826"/>
                  </a:lnTo>
                  <a:lnTo>
                    <a:pt x="736" y="1832"/>
                  </a:lnTo>
                  <a:lnTo>
                    <a:pt x="756" y="1844"/>
                  </a:lnTo>
                  <a:lnTo>
                    <a:pt x="780" y="1852"/>
                  </a:lnTo>
                  <a:lnTo>
                    <a:pt x="804" y="1858"/>
                  </a:lnTo>
                  <a:lnTo>
                    <a:pt x="828" y="1862"/>
                  </a:lnTo>
                  <a:lnTo>
                    <a:pt x="846" y="1862"/>
                  </a:lnTo>
                  <a:lnTo>
                    <a:pt x="866" y="1862"/>
                  </a:lnTo>
                  <a:lnTo>
                    <a:pt x="888" y="1858"/>
                  </a:lnTo>
                  <a:lnTo>
                    <a:pt x="912" y="1852"/>
                  </a:lnTo>
                  <a:lnTo>
                    <a:pt x="936" y="1844"/>
                  </a:lnTo>
                  <a:lnTo>
                    <a:pt x="958" y="1832"/>
                  </a:lnTo>
                  <a:lnTo>
                    <a:pt x="966" y="1826"/>
                  </a:lnTo>
                  <a:lnTo>
                    <a:pt x="974" y="1818"/>
                  </a:lnTo>
                  <a:lnTo>
                    <a:pt x="982" y="1810"/>
                  </a:lnTo>
                  <a:lnTo>
                    <a:pt x="986" y="1800"/>
                  </a:lnTo>
                  <a:lnTo>
                    <a:pt x="990" y="1790"/>
                  </a:lnTo>
                  <a:lnTo>
                    <a:pt x="990" y="1778"/>
                  </a:lnTo>
                  <a:lnTo>
                    <a:pt x="990" y="1766"/>
                  </a:lnTo>
                  <a:lnTo>
                    <a:pt x="986" y="1758"/>
                  </a:lnTo>
                  <a:lnTo>
                    <a:pt x="982" y="1750"/>
                  </a:lnTo>
                  <a:lnTo>
                    <a:pt x="978" y="1742"/>
                  </a:lnTo>
                  <a:lnTo>
                    <a:pt x="964" y="1732"/>
                  </a:lnTo>
                  <a:lnTo>
                    <a:pt x="950" y="1724"/>
                  </a:lnTo>
                  <a:lnTo>
                    <a:pt x="936" y="1716"/>
                  </a:lnTo>
                  <a:lnTo>
                    <a:pt x="922" y="1704"/>
                  </a:lnTo>
                  <a:lnTo>
                    <a:pt x="918" y="1698"/>
                  </a:lnTo>
                  <a:lnTo>
                    <a:pt x="914" y="1690"/>
                  </a:lnTo>
                  <a:lnTo>
                    <a:pt x="912" y="1680"/>
                  </a:lnTo>
                  <a:lnTo>
                    <a:pt x="910" y="1668"/>
                  </a:lnTo>
                  <a:lnTo>
                    <a:pt x="912" y="1660"/>
                  </a:lnTo>
                  <a:lnTo>
                    <a:pt x="918" y="1652"/>
                  </a:lnTo>
                  <a:lnTo>
                    <a:pt x="926" y="1644"/>
                  </a:lnTo>
                  <a:lnTo>
                    <a:pt x="936" y="1638"/>
                  </a:lnTo>
                  <a:lnTo>
                    <a:pt x="960" y="1628"/>
                  </a:lnTo>
                  <a:lnTo>
                    <a:pt x="982" y="1620"/>
                  </a:lnTo>
                  <a:lnTo>
                    <a:pt x="1248" y="1620"/>
                  </a:lnTo>
                  <a:lnTo>
                    <a:pt x="1386" y="1380"/>
                  </a:lnTo>
                  <a:lnTo>
                    <a:pt x="1402" y="1366"/>
                  </a:lnTo>
                  <a:lnTo>
                    <a:pt x="1420" y="1354"/>
                  </a:lnTo>
                  <a:lnTo>
                    <a:pt x="1430" y="1350"/>
                  </a:lnTo>
                  <a:lnTo>
                    <a:pt x="1440" y="1348"/>
                  </a:lnTo>
                  <a:lnTo>
                    <a:pt x="1448" y="1348"/>
                  </a:lnTo>
                  <a:lnTo>
                    <a:pt x="1456" y="1350"/>
                  </a:lnTo>
                  <a:lnTo>
                    <a:pt x="1464" y="1356"/>
                  </a:lnTo>
                  <a:lnTo>
                    <a:pt x="1472" y="1364"/>
                  </a:lnTo>
                  <a:lnTo>
                    <a:pt x="1478" y="1372"/>
                  </a:lnTo>
                  <a:lnTo>
                    <a:pt x="1480" y="1380"/>
                  </a:lnTo>
                  <a:lnTo>
                    <a:pt x="1484" y="1396"/>
                  </a:lnTo>
                  <a:lnTo>
                    <a:pt x="1484" y="1412"/>
                  </a:lnTo>
                  <a:lnTo>
                    <a:pt x="1484" y="1430"/>
                  </a:lnTo>
                  <a:lnTo>
                    <a:pt x="1486" y="1446"/>
                  </a:lnTo>
                  <a:lnTo>
                    <a:pt x="1490" y="1454"/>
                  </a:lnTo>
                  <a:lnTo>
                    <a:pt x="1494" y="1460"/>
                  </a:lnTo>
                  <a:lnTo>
                    <a:pt x="1502" y="1468"/>
                  </a:lnTo>
                  <a:lnTo>
                    <a:pt x="1510" y="1474"/>
                  </a:lnTo>
                  <a:lnTo>
                    <a:pt x="1520" y="1480"/>
                  </a:lnTo>
                  <a:lnTo>
                    <a:pt x="1530" y="1482"/>
                  </a:lnTo>
                  <a:lnTo>
                    <a:pt x="1542" y="1482"/>
                  </a:lnTo>
                  <a:lnTo>
                    <a:pt x="1552" y="1480"/>
                  </a:lnTo>
                  <a:lnTo>
                    <a:pt x="1564" y="1478"/>
                  </a:lnTo>
                  <a:lnTo>
                    <a:pt x="1574" y="1474"/>
                  </a:lnTo>
                  <a:lnTo>
                    <a:pt x="1594" y="1460"/>
                  </a:lnTo>
                  <a:lnTo>
                    <a:pt x="1614" y="1444"/>
                  </a:lnTo>
                  <a:lnTo>
                    <a:pt x="1630" y="1426"/>
                  </a:lnTo>
                  <a:lnTo>
                    <a:pt x="1644" y="1408"/>
                  </a:lnTo>
                  <a:lnTo>
                    <a:pt x="1656" y="1392"/>
                  </a:lnTo>
                  <a:lnTo>
                    <a:pt x="1664" y="1374"/>
                  </a:lnTo>
                  <a:lnTo>
                    <a:pt x="1672" y="1354"/>
                  </a:lnTo>
                  <a:lnTo>
                    <a:pt x="1680" y="1330"/>
                  </a:lnTo>
                  <a:lnTo>
                    <a:pt x="1684" y="1306"/>
                  </a:lnTo>
                  <a:lnTo>
                    <a:pt x="1684" y="1280"/>
                  </a:lnTo>
                  <a:lnTo>
                    <a:pt x="1684" y="1270"/>
                  </a:lnTo>
                  <a:lnTo>
                    <a:pt x="1680" y="1258"/>
                  </a:lnTo>
                  <a:lnTo>
                    <a:pt x="1676" y="1248"/>
                  </a:lnTo>
                  <a:lnTo>
                    <a:pt x="1670" y="1240"/>
                  </a:lnTo>
                  <a:lnTo>
                    <a:pt x="1664" y="1232"/>
                  </a:lnTo>
                  <a:lnTo>
                    <a:pt x="1654" y="1226"/>
                  </a:lnTo>
                  <a:lnTo>
                    <a:pt x="1644" y="1220"/>
                  </a:lnTo>
                  <a:lnTo>
                    <a:pt x="1634" y="1218"/>
                  </a:lnTo>
                  <a:lnTo>
                    <a:pt x="1626" y="1218"/>
                  </a:lnTo>
                  <a:lnTo>
                    <a:pt x="1618" y="1218"/>
                  </a:lnTo>
                  <a:lnTo>
                    <a:pt x="1602" y="1224"/>
                  </a:lnTo>
                  <a:lnTo>
                    <a:pt x="1588" y="1234"/>
                  </a:lnTo>
                  <a:lnTo>
                    <a:pt x="1572" y="1242"/>
                  </a:lnTo>
                  <a:lnTo>
                    <a:pt x="1558" y="1248"/>
                  </a:lnTo>
                  <a:lnTo>
                    <a:pt x="1548" y="1248"/>
                  </a:lnTo>
                  <a:lnTo>
                    <a:pt x="1540" y="1248"/>
                  </a:lnTo>
                  <a:lnTo>
                    <a:pt x="1530" y="1244"/>
                  </a:lnTo>
                  <a:lnTo>
                    <a:pt x="1520" y="1240"/>
                  </a:lnTo>
                  <a:lnTo>
                    <a:pt x="1514" y="1234"/>
                  </a:lnTo>
                  <a:lnTo>
                    <a:pt x="1508" y="1226"/>
                  </a:lnTo>
                  <a:lnTo>
                    <a:pt x="1506" y="1218"/>
                  </a:lnTo>
                  <a:lnTo>
                    <a:pt x="1506" y="1208"/>
                  </a:lnTo>
                  <a:lnTo>
                    <a:pt x="1506" y="1186"/>
                  </a:lnTo>
                  <a:lnTo>
                    <a:pt x="1510" y="1164"/>
                  </a:lnTo>
                  <a:lnTo>
                    <a:pt x="1648" y="928"/>
                  </a:lnTo>
                  <a:lnTo>
                    <a:pt x="1516" y="700"/>
                  </a:lnTo>
                  <a:lnTo>
                    <a:pt x="1512" y="678"/>
                  </a:lnTo>
                  <a:lnTo>
                    <a:pt x="1510" y="656"/>
                  </a:lnTo>
                  <a:lnTo>
                    <a:pt x="1510" y="644"/>
                  </a:lnTo>
                  <a:lnTo>
                    <a:pt x="1512" y="634"/>
                  </a:lnTo>
                  <a:lnTo>
                    <a:pt x="1518" y="626"/>
                  </a:lnTo>
                  <a:lnTo>
                    <a:pt x="1524" y="620"/>
                  </a:lnTo>
                  <a:lnTo>
                    <a:pt x="1534" y="616"/>
                  </a:lnTo>
                  <a:lnTo>
                    <a:pt x="1544" y="612"/>
                  </a:lnTo>
                  <a:lnTo>
                    <a:pt x="1552" y="612"/>
                  </a:lnTo>
                  <a:lnTo>
                    <a:pt x="1562" y="612"/>
                  </a:lnTo>
                  <a:lnTo>
                    <a:pt x="1576" y="618"/>
                  </a:lnTo>
                  <a:lnTo>
                    <a:pt x="1592" y="626"/>
                  </a:lnTo>
                  <a:lnTo>
                    <a:pt x="1606" y="636"/>
                  </a:lnTo>
                  <a:lnTo>
                    <a:pt x="1622" y="642"/>
                  </a:lnTo>
                  <a:lnTo>
                    <a:pt x="1630" y="642"/>
                  </a:lnTo>
                  <a:lnTo>
                    <a:pt x="1638" y="642"/>
                  </a:lnTo>
                  <a:lnTo>
                    <a:pt x="1648" y="640"/>
                  </a:lnTo>
                  <a:lnTo>
                    <a:pt x="1658" y="634"/>
                  </a:lnTo>
                  <a:lnTo>
                    <a:pt x="1668" y="628"/>
                  </a:lnTo>
                  <a:lnTo>
                    <a:pt x="1676" y="620"/>
                  </a:lnTo>
                  <a:lnTo>
                    <a:pt x="1682" y="612"/>
                  </a:lnTo>
                  <a:lnTo>
                    <a:pt x="1686" y="602"/>
                  </a:lnTo>
                  <a:lnTo>
                    <a:pt x="1688" y="590"/>
                  </a:lnTo>
                  <a:lnTo>
                    <a:pt x="1690" y="580"/>
                  </a:lnTo>
                  <a:lnTo>
                    <a:pt x="1688" y="554"/>
                  </a:lnTo>
                  <a:lnTo>
                    <a:pt x="1684" y="530"/>
                  </a:lnTo>
                  <a:lnTo>
                    <a:pt x="1678" y="506"/>
                  </a:lnTo>
                  <a:lnTo>
                    <a:pt x="1668" y="486"/>
                  </a:lnTo>
                  <a:lnTo>
                    <a:pt x="1660" y="468"/>
                  </a:lnTo>
                  <a:lnTo>
                    <a:pt x="1650" y="452"/>
                  </a:lnTo>
                  <a:lnTo>
                    <a:pt x="1636" y="434"/>
                  </a:lnTo>
                  <a:lnTo>
                    <a:pt x="1618" y="416"/>
                  </a:lnTo>
                  <a:lnTo>
                    <a:pt x="1598" y="400"/>
                  </a:lnTo>
                  <a:lnTo>
                    <a:pt x="1578" y="386"/>
                  </a:lnTo>
                  <a:lnTo>
                    <a:pt x="1568" y="382"/>
                  </a:lnTo>
                  <a:lnTo>
                    <a:pt x="1556" y="378"/>
                  </a:lnTo>
                  <a:lnTo>
                    <a:pt x="1546" y="378"/>
                  </a:lnTo>
                  <a:lnTo>
                    <a:pt x="1536" y="378"/>
                  </a:lnTo>
                  <a:lnTo>
                    <a:pt x="1524" y="380"/>
                  </a:lnTo>
                  <a:lnTo>
                    <a:pt x="1514" y="386"/>
                  </a:lnTo>
                  <a:lnTo>
                    <a:pt x="1506" y="392"/>
                  </a:lnTo>
                  <a:lnTo>
                    <a:pt x="1498" y="400"/>
                  </a:lnTo>
                  <a:lnTo>
                    <a:pt x="1494" y="406"/>
                  </a:lnTo>
                  <a:lnTo>
                    <a:pt x="1490" y="414"/>
                  </a:lnTo>
                  <a:lnTo>
                    <a:pt x="1488" y="430"/>
                  </a:lnTo>
                  <a:lnTo>
                    <a:pt x="1488" y="448"/>
                  </a:lnTo>
                  <a:lnTo>
                    <a:pt x="1488" y="464"/>
                  </a:lnTo>
                  <a:lnTo>
                    <a:pt x="1486" y="480"/>
                  </a:lnTo>
                  <a:lnTo>
                    <a:pt x="1482" y="488"/>
                  </a:lnTo>
                  <a:lnTo>
                    <a:pt x="1476" y="496"/>
                  </a:lnTo>
                  <a:lnTo>
                    <a:pt x="1470" y="502"/>
                  </a:lnTo>
                  <a:lnTo>
                    <a:pt x="1460" y="510"/>
                  </a:lnTo>
                  <a:lnTo>
                    <a:pt x="1452" y="512"/>
                  </a:lnTo>
                  <a:lnTo>
                    <a:pt x="1442" y="512"/>
                  </a:lnTo>
                  <a:lnTo>
                    <a:pt x="1432" y="510"/>
                  </a:lnTo>
                  <a:lnTo>
                    <a:pt x="1422" y="504"/>
                  </a:lnTo>
                  <a:lnTo>
                    <a:pt x="1404" y="490"/>
                  </a:lnTo>
                  <a:lnTo>
                    <a:pt x="1386" y="476"/>
                  </a:lnTo>
                  <a:lnTo>
                    <a:pt x="1246" y="236"/>
                  </a:lnTo>
                  <a:lnTo>
                    <a:pt x="982" y="242"/>
                  </a:lnTo>
                  <a:close/>
                </a:path>
              </a:pathLst>
            </a:custGeom>
            <a:solidFill>
              <a:srgbClr val="FF9900"/>
            </a:solidFill>
            <a:ln w="38100" cap="flat" cmpd="sng">
              <a:solidFill>
                <a:srgbClr val="5F5F5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E"/>
            </a:p>
          </p:txBody>
        </p:sp>
        <p:sp>
          <p:nvSpPr>
            <p:cNvPr id="32783" name="Text Box 17"/>
            <p:cNvSpPr txBox="1">
              <a:spLocks noChangeArrowheads="1"/>
            </p:cNvSpPr>
            <p:nvPr/>
          </p:nvSpPr>
          <p:spPr bwMode="auto">
            <a:xfrm>
              <a:off x="4820" y="1556"/>
              <a:ext cx="785" cy="4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5F5F5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IE" b="1">
                  <a:solidFill>
                    <a:srgbClr val="000000"/>
                  </a:solidFill>
                  <a:cs typeface="Arial" charset="0"/>
                </a:rPr>
                <a:t>GS1 Barcodes</a:t>
              </a:r>
              <a:endParaRPr lang="en-GB" b="1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32776" name="Group 18"/>
          <p:cNvGrpSpPr>
            <a:grpSpLocks/>
          </p:cNvGrpSpPr>
          <p:nvPr/>
        </p:nvGrpSpPr>
        <p:grpSpPr bwMode="auto">
          <a:xfrm>
            <a:off x="2686050" y="3287713"/>
            <a:ext cx="1757363" cy="1760537"/>
            <a:chOff x="1303" y="2591"/>
            <a:chExt cx="1107" cy="1109"/>
          </a:xfrm>
        </p:grpSpPr>
        <p:sp>
          <p:nvSpPr>
            <p:cNvPr id="32780" name="Freeform 19"/>
            <p:cNvSpPr>
              <a:spLocks/>
            </p:cNvSpPr>
            <p:nvPr/>
          </p:nvSpPr>
          <p:spPr bwMode="auto">
            <a:xfrm>
              <a:off x="1303" y="2591"/>
              <a:ext cx="1107" cy="1109"/>
            </a:xfrm>
            <a:custGeom>
              <a:avLst/>
              <a:gdLst>
                <a:gd name="T0" fmla="*/ 299 w 1616"/>
                <a:gd name="T1" fmla="*/ 307 h 1618"/>
                <a:gd name="T2" fmla="*/ 308 w 1616"/>
                <a:gd name="T3" fmla="*/ 308 h 1618"/>
                <a:gd name="T4" fmla="*/ 312 w 1616"/>
                <a:gd name="T5" fmla="*/ 320 h 1618"/>
                <a:gd name="T6" fmla="*/ 315 w 1616"/>
                <a:gd name="T7" fmla="*/ 333 h 1618"/>
                <a:gd name="T8" fmla="*/ 324 w 1616"/>
                <a:gd name="T9" fmla="*/ 336 h 1618"/>
                <a:gd name="T10" fmla="*/ 340 w 1616"/>
                <a:gd name="T11" fmla="*/ 328 h 1618"/>
                <a:gd name="T12" fmla="*/ 351 w 1616"/>
                <a:gd name="T13" fmla="*/ 313 h 1618"/>
                <a:gd name="T14" fmla="*/ 356 w 1616"/>
                <a:gd name="T15" fmla="*/ 289 h 1618"/>
                <a:gd name="T16" fmla="*/ 349 w 1616"/>
                <a:gd name="T17" fmla="*/ 280 h 1618"/>
                <a:gd name="T18" fmla="*/ 340 w 1616"/>
                <a:gd name="T19" fmla="*/ 278 h 1618"/>
                <a:gd name="T20" fmla="*/ 326 w 1616"/>
                <a:gd name="T21" fmla="*/ 284 h 1618"/>
                <a:gd name="T22" fmla="*/ 318 w 1616"/>
                <a:gd name="T23" fmla="*/ 281 h 1618"/>
                <a:gd name="T24" fmla="*/ 318 w 1616"/>
                <a:gd name="T25" fmla="*/ 265 h 1618"/>
                <a:gd name="T26" fmla="*/ 322 w 1616"/>
                <a:gd name="T27" fmla="*/ 153 h 1618"/>
                <a:gd name="T28" fmla="*/ 307 w 1616"/>
                <a:gd name="T29" fmla="*/ 144 h 1618"/>
                <a:gd name="T30" fmla="*/ 300 w 1616"/>
                <a:gd name="T31" fmla="*/ 150 h 1618"/>
                <a:gd name="T32" fmla="*/ 299 w 1616"/>
                <a:gd name="T33" fmla="*/ 166 h 1618"/>
                <a:gd name="T34" fmla="*/ 293 w 1616"/>
                <a:gd name="T35" fmla="*/ 173 h 1618"/>
                <a:gd name="T36" fmla="*/ 281 w 1616"/>
                <a:gd name="T37" fmla="*/ 173 h 1618"/>
                <a:gd name="T38" fmla="*/ 263 w 1616"/>
                <a:gd name="T39" fmla="*/ 158 h 1618"/>
                <a:gd name="T40" fmla="*/ 256 w 1616"/>
                <a:gd name="T41" fmla="*/ 141 h 1618"/>
                <a:gd name="T42" fmla="*/ 256 w 1616"/>
                <a:gd name="T43" fmla="*/ 123 h 1618"/>
                <a:gd name="T44" fmla="*/ 264 w 1616"/>
                <a:gd name="T45" fmla="*/ 117 h 1618"/>
                <a:gd name="T46" fmla="*/ 276 w 1616"/>
                <a:gd name="T47" fmla="*/ 119 h 1618"/>
                <a:gd name="T48" fmla="*/ 289 w 1616"/>
                <a:gd name="T49" fmla="*/ 122 h 1618"/>
                <a:gd name="T50" fmla="*/ 295 w 1616"/>
                <a:gd name="T51" fmla="*/ 115 h 1618"/>
                <a:gd name="T52" fmla="*/ 264 w 1616"/>
                <a:gd name="T53" fmla="*/ 53 h 1618"/>
                <a:gd name="T54" fmla="*/ 199 w 1616"/>
                <a:gd name="T55" fmla="*/ 51 h 1618"/>
                <a:gd name="T56" fmla="*/ 197 w 1616"/>
                <a:gd name="T57" fmla="*/ 50 h 1618"/>
                <a:gd name="T58" fmla="*/ 196 w 1616"/>
                <a:gd name="T59" fmla="*/ 50 h 1618"/>
                <a:gd name="T60" fmla="*/ 195 w 1616"/>
                <a:gd name="T61" fmla="*/ 49 h 1618"/>
                <a:gd name="T62" fmla="*/ 194 w 1616"/>
                <a:gd name="T63" fmla="*/ 47 h 1618"/>
                <a:gd name="T64" fmla="*/ 193 w 1616"/>
                <a:gd name="T65" fmla="*/ 47 h 1618"/>
                <a:gd name="T66" fmla="*/ 192 w 1616"/>
                <a:gd name="T67" fmla="*/ 46 h 1618"/>
                <a:gd name="T68" fmla="*/ 192 w 1616"/>
                <a:gd name="T69" fmla="*/ 45 h 1618"/>
                <a:gd name="T70" fmla="*/ 191 w 1616"/>
                <a:gd name="T71" fmla="*/ 44 h 1618"/>
                <a:gd name="T72" fmla="*/ 191 w 1616"/>
                <a:gd name="T73" fmla="*/ 42 h 1618"/>
                <a:gd name="T74" fmla="*/ 191 w 1616"/>
                <a:gd name="T75" fmla="*/ 42 h 1618"/>
                <a:gd name="T76" fmla="*/ 197 w 1616"/>
                <a:gd name="T77" fmla="*/ 32 h 1618"/>
                <a:gd name="T78" fmla="*/ 208 w 1616"/>
                <a:gd name="T79" fmla="*/ 23 h 1618"/>
                <a:gd name="T80" fmla="*/ 208 w 1616"/>
                <a:gd name="T81" fmla="*/ 14 h 1618"/>
                <a:gd name="T82" fmla="*/ 197 w 1616"/>
                <a:gd name="T83" fmla="*/ 3 h 1618"/>
                <a:gd name="T84" fmla="*/ 177 w 1616"/>
                <a:gd name="T85" fmla="*/ 0 h 1618"/>
                <a:gd name="T86" fmla="*/ 153 w 1616"/>
                <a:gd name="T87" fmla="*/ 7 h 1618"/>
                <a:gd name="T88" fmla="*/ 145 w 1616"/>
                <a:gd name="T89" fmla="*/ 16 h 1618"/>
                <a:gd name="T90" fmla="*/ 147 w 1616"/>
                <a:gd name="T91" fmla="*/ 25 h 1618"/>
                <a:gd name="T92" fmla="*/ 160 w 1616"/>
                <a:gd name="T93" fmla="*/ 35 h 1618"/>
                <a:gd name="T94" fmla="*/ 163 w 1616"/>
                <a:gd name="T95" fmla="*/ 42 h 1618"/>
                <a:gd name="T96" fmla="*/ 163 w 1616"/>
                <a:gd name="T97" fmla="*/ 42 h 1618"/>
                <a:gd name="T98" fmla="*/ 163 w 1616"/>
                <a:gd name="T99" fmla="*/ 45 h 1618"/>
                <a:gd name="T100" fmla="*/ 163 w 1616"/>
                <a:gd name="T101" fmla="*/ 45 h 1618"/>
                <a:gd name="T102" fmla="*/ 162 w 1616"/>
                <a:gd name="T103" fmla="*/ 47 h 1618"/>
                <a:gd name="T104" fmla="*/ 161 w 1616"/>
                <a:gd name="T105" fmla="*/ 47 h 1618"/>
                <a:gd name="T106" fmla="*/ 160 w 1616"/>
                <a:gd name="T107" fmla="*/ 48 h 1618"/>
                <a:gd name="T108" fmla="*/ 159 w 1616"/>
                <a:gd name="T109" fmla="*/ 49 h 1618"/>
                <a:gd name="T110" fmla="*/ 158 w 1616"/>
                <a:gd name="T111" fmla="*/ 50 h 1618"/>
                <a:gd name="T112" fmla="*/ 157 w 1616"/>
                <a:gd name="T113" fmla="*/ 50 h 1618"/>
                <a:gd name="T114" fmla="*/ 156 w 1616"/>
                <a:gd name="T115" fmla="*/ 51 h 1618"/>
                <a:gd name="T116" fmla="*/ 0 w 1616"/>
                <a:gd name="T117" fmla="*/ 204 h 161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16" h="1618">
                  <a:moveTo>
                    <a:pt x="1312" y="1426"/>
                  </a:moveTo>
                  <a:lnTo>
                    <a:pt x="1312" y="1426"/>
                  </a:lnTo>
                  <a:lnTo>
                    <a:pt x="1328" y="1410"/>
                  </a:lnTo>
                  <a:lnTo>
                    <a:pt x="1348" y="1396"/>
                  </a:lnTo>
                  <a:lnTo>
                    <a:pt x="1358" y="1392"/>
                  </a:lnTo>
                  <a:lnTo>
                    <a:pt x="1368" y="1388"/>
                  </a:lnTo>
                  <a:lnTo>
                    <a:pt x="1378" y="1388"/>
                  </a:lnTo>
                  <a:lnTo>
                    <a:pt x="1386" y="1390"/>
                  </a:lnTo>
                  <a:lnTo>
                    <a:pt x="1396" y="1398"/>
                  </a:lnTo>
                  <a:lnTo>
                    <a:pt x="1402" y="1404"/>
                  </a:lnTo>
                  <a:lnTo>
                    <a:pt x="1408" y="1412"/>
                  </a:lnTo>
                  <a:lnTo>
                    <a:pt x="1412" y="1420"/>
                  </a:lnTo>
                  <a:lnTo>
                    <a:pt x="1414" y="1436"/>
                  </a:lnTo>
                  <a:lnTo>
                    <a:pt x="1414" y="1452"/>
                  </a:lnTo>
                  <a:lnTo>
                    <a:pt x="1414" y="1470"/>
                  </a:lnTo>
                  <a:lnTo>
                    <a:pt x="1418" y="1486"/>
                  </a:lnTo>
                  <a:lnTo>
                    <a:pt x="1420" y="1494"/>
                  </a:lnTo>
                  <a:lnTo>
                    <a:pt x="1426" y="1502"/>
                  </a:lnTo>
                  <a:lnTo>
                    <a:pt x="1432" y="1508"/>
                  </a:lnTo>
                  <a:lnTo>
                    <a:pt x="1442" y="1516"/>
                  </a:lnTo>
                  <a:lnTo>
                    <a:pt x="1452" y="1520"/>
                  </a:lnTo>
                  <a:lnTo>
                    <a:pt x="1462" y="1522"/>
                  </a:lnTo>
                  <a:lnTo>
                    <a:pt x="1472" y="1522"/>
                  </a:lnTo>
                  <a:lnTo>
                    <a:pt x="1484" y="1522"/>
                  </a:lnTo>
                  <a:lnTo>
                    <a:pt x="1494" y="1518"/>
                  </a:lnTo>
                  <a:lnTo>
                    <a:pt x="1504" y="1514"/>
                  </a:lnTo>
                  <a:lnTo>
                    <a:pt x="1526" y="1500"/>
                  </a:lnTo>
                  <a:lnTo>
                    <a:pt x="1544" y="1484"/>
                  </a:lnTo>
                  <a:lnTo>
                    <a:pt x="1562" y="1466"/>
                  </a:lnTo>
                  <a:lnTo>
                    <a:pt x="1576" y="1448"/>
                  </a:lnTo>
                  <a:lnTo>
                    <a:pt x="1586" y="1432"/>
                  </a:lnTo>
                  <a:lnTo>
                    <a:pt x="1596" y="1416"/>
                  </a:lnTo>
                  <a:lnTo>
                    <a:pt x="1604" y="1394"/>
                  </a:lnTo>
                  <a:lnTo>
                    <a:pt x="1610" y="1370"/>
                  </a:lnTo>
                  <a:lnTo>
                    <a:pt x="1614" y="1346"/>
                  </a:lnTo>
                  <a:lnTo>
                    <a:pt x="1616" y="1322"/>
                  </a:lnTo>
                  <a:lnTo>
                    <a:pt x="1614" y="1310"/>
                  </a:lnTo>
                  <a:lnTo>
                    <a:pt x="1612" y="1298"/>
                  </a:lnTo>
                  <a:lnTo>
                    <a:pt x="1608" y="1288"/>
                  </a:lnTo>
                  <a:lnTo>
                    <a:pt x="1602" y="1280"/>
                  </a:lnTo>
                  <a:lnTo>
                    <a:pt x="1594" y="1272"/>
                  </a:lnTo>
                  <a:lnTo>
                    <a:pt x="1586" y="1266"/>
                  </a:lnTo>
                  <a:lnTo>
                    <a:pt x="1574" y="1262"/>
                  </a:lnTo>
                  <a:lnTo>
                    <a:pt x="1566" y="1258"/>
                  </a:lnTo>
                  <a:lnTo>
                    <a:pt x="1556" y="1258"/>
                  </a:lnTo>
                  <a:lnTo>
                    <a:pt x="1548" y="1260"/>
                  </a:lnTo>
                  <a:lnTo>
                    <a:pt x="1532" y="1266"/>
                  </a:lnTo>
                  <a:lnTo>
                    <a:pt x="1518" y="1274"/>
                  </a:lnTo>
                  <a:lnTo>
                    <a:pt x="1504" y="1282"/>
                  </a:lnTo>
                  <a:lnTo>
                    <a:pt x="1488" y="1288"/>
                  </a:lnTo>
                  <a:lnTo>
                    <a:pt x="1480" y="1288"/>
                  </a:lnTo>
                  <a:lnTo>
                    <a:pt x="1470" y="1288"/>
                  </a:lnTo>
                  <a:lnTo>
                    <a:pt x="1460" y="1286"/>
                  </a:lnTo>
                  <a:lnTo>
                    <a:pt x="1450" y="1280"/>
                  </a:lnTo>
                  <a:lnTo>
                    <a:pt x="1444" y="1274"/>
                  </a:lnTo>
                  <a:lnTo>
                    <a:pt x="1438" y="1266"/>
                  </a:lnTo>
                  <a:lnTo>
                    <a:pt x="1436" y="1256"/>
                  </a:lnTo>
                  <a:lnTo>
                    <a:pt x="1436" y="1244"/>
                  </a:lnTo>
                  <a:lnTo>
                    <a:pt x="1438" y="1220"/>
                  </a:lnTo>
                  <a:lnTo>
                    <a:pt x="1444" y="1198"/>
                  </a:lnTo>
                  <a:lnTo>
                    <a:pt x="1598" y="930"/>
                  </a:lnTo>
                  <a:lnTo>
                    <a:pt x="1600" y="926"/>
                  </a:lnTo>
                  <a:lnTo>
                    <a:pt x="1596" y="926"/>
                  </a:lnTo>
                  <a:lnTo>
                    <a:pt x="1462" y="694"/>
                  </a:lnTo>
                  <a:lnTo>
                    <a:pt x="1446" y="678"/>
                  </a:lnTo>
                  <a:lnTo>
                    <a:pt x="1426" y="664"/>
                  </a:lnTo>
                  <a:lnTo>
                    <a:pt x="1414" y="658"/>
                  </a:lnTo>
                  <a:lnTo>
                    <a:pt x="1404" y="656"/>
                  </a:lnTo>
                  <a:lnTo>
                    <a:pt x="1394" y="654"/>
                  </a:lnTo>
                  <a:lnTo>
                    <a:pt x="1386" y="658"/>
                  </a:lnTo>
                  <a:lnTo>
                    <a:pt x="1376" y="664"/>
                  </a:lnTo>
                  <a:lnTo>
                    <a:pt x="1368" y="672"/>
                  </a:lnTo>
                  <a:lnTo>
                    <a:pt x="1364" y="678"/>
                  </a:lnTo>
                  <a:lnTo>
                    <a:pt x="1360" y="686"/>
                  </a:lnTo>
                  <a:lnTo>
                    <a:pt x="1358" y="702"/>
                  </a:lnTo>
                  <a:lnTo>
                    <a:pt x="1358" y="720"/>
                  </a:lnTo>
                  <a:lnTo>
                    <a:pt x="1358" y="736"/>
                  </a:lnTo>
                  <a:lnTo>
                    <a:pt x="1354" y="752"/>
                  </a:lnTo>
                  <a:lnTo>
                    <a:pt x="1352" y="760"/>
                  </a:lnTo>
                  <a:lnTo>
                    <a:pt x="1346" y="768"/>
                  </a:lnTo>
                  <a:lnTo>
                    <a:pt x="1340" y="776"/>
                  </a:lnTo>
                  <a:lnTo>
                    <a:pt x="1330" y="782"/>
                  </a:lnTo>
                  <a:lnTo>
                    <a:pt x="1320" y="786"/>
                  </a:lnTo>
                  <a:lnTo>
                    <a:pt x="1310" y="790"/>
                  </a:lnTo>
                  <a:lnTo>
                    <a:pt x="1300" y="790"/>
                  </a:lnTo>
                  <a:lnTo>
                    <a:pt x="1288" y="788"/>
                  </a:lnTo>
                  <a:lnTo>
                    <a:pt x="1278" y="784"/>
                  </a:lnTo>
                  <a:lnTo>
                    <a:pt x="1268" y="780"/>
                  </a:lnTo>
                  <a:lnTo>
                    <a:pt x="1246" y="768"/>
                  </a:lnTo>
                  <a:lnTo>
                    <a:pt x="1228" y="752"/>
                  </a:lnTo>
                  <a:lnTo>
                    <a:pt x="1210" y="734"/>
                  </a:lnTo>
                  <a:lnTo>
                    <a:pt x="1196" y="716"/>
                  </a:lnTo>
                  <a:lnTo>
                    <a:pt x="1186" y="700"/>
                  </a:lnTo>
                  <a:lnTo>
                    <a:pt x="1176" y="682"/>
                  </a:lnTo>
                  <a:lnTo>
                    <a:pt x="1168" y="660"/>
                  </a:lnTo>
                  <a:lnTo>
                    <a:pt x="1162" y="638"/>
                  </a:lnTo>
                  <a:lnTo>
                    <a:pt x="1156" y="612"/>
                  </a:lnTo>
                  <a:lnTo>
                    <a:pt x="1156" y="588"/>
                  </a:lnTo>
                  <a:lnTo>
                    <a:pt x="1158" y="576"/>
                  </a:lnTo>
                  <a:lnTo>
                    <a:pt x="1160" y="566"/>
                  </a:lnTo>
                  <a:lnTo>
                    <a:pt x="1164" y="556"/>
                  </a:lnTo>
                  <a:lnTo>
                    <a:pt x="1170" y="546"/>
                  </a:lnTo>
                  <a:lnTo>
                    <a:pt x="1178" y="538"/>
                  </a:lnTo>
                  <a:lnTo>
                    <a:pt x="1186" y="532"/>
                  </a:lnTo>
                  <a:lnTo>
                    <a:pt x="1198" y="528"/>
                  </a:lnTo>
                  <a:lnTo>
                    <a:pt x="1206" y="526"/>
                  </a:lnTo>
                  <a:lnTo>
                    <a:pt x="1216" y="524"/>
                  </a:lnTo>
                  <a:lnTo>
                    <a:pt x="1224" y="526"/>
                  </a:lnTo>
                  <a:lnTo>
                    <a:pt x="1240" y="532"/>
                  </a:lnTo>
                  <a:lnTo>
                    <a:pt x="1254" y="540"/>
                  </a:lnTo>
                  <a:lnTo>
                    <a:pt x="1268" y="548"/>
                  </a:lnTo>
                  <a:lnTo>
                    <a:pt x="1284" y="554"/>
                  </a:lnTo>
                  <a:lnTo>
                    <a:pt x="1292" y="556"/>
                  </a:lnTo>
                  <a:lnTo>
                    <a:pt x="1302" y="554"/>
                  </a:lnTo>
                  <a:lnTo>
                    <a:pt x="1312" y="552"/>
                  </a:lnTo>
                  <a:lnTo>
                    <a:pt x="1322" y="546"/>
                  </a:lnTo>
                  <a:lnTo>
                    <a:pt x="1328" y="540"/>
                  </a:lnTo>
                  <a:lnTo>
                    <a:pt x="1334" y="532"/>
                  </a:lnTo>
                  <a:lnTo>
                    <a:pt x="1336" y="522"/>
                  </a:lnTo>
                  <a:lnTo>
                    <a:pt x="1336" y="510"/>
                  </a:lnTo>
                  <a:lnTo>
                    <a:pt x="1334" y="484"/>
                  </a:lnTo>
                  <a:lnTo>
                    <a:pt x="1328" y="462"/>
                  </a:lnTo>
                  <a:lnTo>
                    <a:pt x="1198" y="238"/>
                  </a:lnTo>
                  <a:lnTo>
                    <a:pt x="924" y="238"/>
                  </a:lnTo>
                  <a:lnTo>
                    <a:pt x="902" y="230"/>
                  </a:lnTo>
                  <a:lnTo>
                    <a:pt x="898" y="228"/>
                  </a:lnTo>
                  <a:lnTo>
                    <a:pt x="896" y="226"/>
                  </a:lnTo>
                  <a:lnTo>
                    <a:pt x="894" y="226"/>
                  </a:lnTo>
                  <a:lnTo>
                    <a:pt x="892" y="224"/>
                  </a:lnTo>
                  <a:lnTo>
                    <a:pt x="890" y="224"/>
                  </a:lnTo>
                  <a:lnTo>
                    <a:pt x="888" y="222"/>
                  </a:lnTo>
                  <a:lnTo>
                    <a:pt x="886" y="220"/>
                  </a:lnTo>
                  <a:lnTo>
                    <a:pt x="884" y="220"/>
                  </a:lnTo>
                  <a:lnTo>
                    <a:pt x="882" y="218"/>
                  </a:lnTo>
                  <a:lnTo>
                    <a:pt x="880" y="216"/>
                  </a:lnTo>
                  <a:lnTo>
                    <a:pt x="878" y="214"/>
                  </a:lnTo>
                  <a:lnTo>
                    <a:pt x="876" y="212"/>
                  </a:lnTo>
                  <a:lnTo>
                    <a:pt x="874" y="210"/>
                  </a:lnTo>
                  <a:lnTo>
                    <a:pt x="874" y="208"/>
                  </a:lnTo>
                  <a:lnTo>
                    <a:pt x="872" y="206"/>
                  </a:lnTo>
                  <a:lnTo>
                    <a:pt x="870" y="204"/>
                  </a:lnTo>
                  <a:lnTo>
                    <a:pt x="870" y="202"/>
                  </a:lnTo>
                  <a:lnTo>
                    <a:pt x="868" y="200"/>
                  </a:lnTo>
                  <a:lnTo>
                    <a:pt x="868" y="198"/>
                  </a:lnTo>
                  <a:lnTo>
                    <a:pt x="868" y="194"/>
                  </a:lnTo>
                  <a:lnTo>
                    <a:pt x="870" y="182"/>
                  </a:lnTo>
                  <a:lnTo>
                    <a:pt x="872" y="172"/>
                  </a:lnTo>
                  <a:lnTo>
                    <a:pt x="876" y="164"/>
                  </a:lnTo>
                  <a:lnTo>
                    <a:pt x="880" y="158"/>
                  </a:lnTo>
                  <a:lnTo>
                    <a:pt x="894" y="148"/>
                  </a:lnTo>
                  <a:lnTo>
                    <a:pt x="908" y="138"/>
                  </a:lnTo>
                  <a:lnTo>
                    <a:pt x="922" y="130"/>
                  </a:lnTo>
                  <a:lnTo>
                    <a:pt x="936" y="120"/>
                  </a:lnTo>
                  <a:lnTo>
                    <a:pt x="940" y="114"/>
                  </a:lnTo>
                  <a:lnTo>
                    <a:pt x="944" y="106"/>
                  </a:lnTo>
                  <a:lnTo>
                    <a:pt x="948" y="96"/>
                  </a:lnTo>
                  <a:lnTo>
                    <a:pt x="948" y="84"/>
                  </a:lnTo>
                  <a:lnTo>
                    <a:pt x="948" y="74"/>
                  </a:lnTo>
                  <a:lnTo>
                    <a:pt x="944" y="64"/>
                  </a:lnTo>
                  <a:lnTo>
                    <a:pt x="940" y="54"/>
                  </a:lnTo>
                  <a:lnTo>
                    <a:pt x="932" y="46"/>
                  </a:lnTo>
                  <a:lnTo>
                    <a:pt x="924" y="38"/>
                  </a:lnTo>
                  <a:lnTo>
                    <a:pt x="916" y="30"/>
                  </a:lnTo>
                  <a:lnTo>
                    <a:pt x="894" y="18"/>
                  </a:lnTo>
                  <a:lnTo>
                    <a:pt x="870" y="10"/>
                  </a:lnTo>
                  <a:lnTo>
                    <a:pt x="846" y="4"/>
                  </a:lnTo>
                  <a:lnTo>
                    <a:pt x="824" y="2"/>
                  </a:lnTo>
                  <a:lnTo>
                    <a:pt x="804" y="0"/>
                  </a:lnTo>
                  <a:lnTo>
                    <a:pt x="786" y="2"/>
                  </a:lnTo>
                  <a:lnTo>
                    <a:pt x="762" y="4"/>
                  </a:lnTo>
                  <a:lnTo>
                    <a:pt x="738" y="10"/>
                  </a:lnTo>
                  <a:lnTo>
                    <a:pt x="714" y="18"/>
                  </a:lnTo>
                  <a:lnTo>
                    <a:pt x="694" y="30"/>
                  </a:lnTo>
                  <a:lnTo>
                    <a:pt x="684" y="38"/>
                  </a:lnTo>
                  <a:lnTo>
                    <a:pt x="676" y="46"/>
                  </a:lnTo>
                  <a:lnTo>
                    <a:pt x="670" y="54"/>
                  </a:lnTo>
                  <a:lnTo>
                    <a:pt x="664" y="64"/>
                  </a:lnTo>
                  <a:lnTo>
                    <a:pt x="662" y="74"/>
                  </a:lnTo>
                  <a:lnTo>
                    <a:pt x="660" y="84"/>
                  </a:lnTo>
                  <a:lnTo>
                    <a:pt x="662" y="96"/>
                  </a:lnTo>
                  <a:lnTo>
                    <a:pt x="664" y="106"/>
                  </a:lnTo>
                  <a:lnTo>
                    <a:pt x="668" y="114"/>
                  </a:lnTo>
                  <a:lnTo>
                    <a:pt x="674" y="120"/>
                  </a:lnTo>
                  <a:lnTo>
                    <a:pt x="686" y="130"/>
                  </a:lnTo>
                  <a:lnTo>
                    <a:pt x="700" y="138"/>
                  </a:lnTo>
                  <a:lnTo>
                    <a:pt x="716" y="148"/>
                  </a:lnTo>
                  <a:lnTo>
                    <a:pt x="728" y="158"/>
                  </a:lnTo>
                  <a:lnTo>
                    <a:pt x="734" y="164"/>
                  </a:lnTo>
                  <a:lnTo>
                    <a:pt x="736" y="172"/>
                  </a:lnTo>
                  <a:lnTo>
                    <a:pt x="740" y="182"/>
                  </a:lnTo>
                  <a:lnTo>
                    <a:pt x="740" y="194"/>
                  </a:lnTo>
                  <a:lnTo>
                    <a:pt x="740" y="198"/>
                  </a:lnTo>
                  <a:lnTo>
                    <a:pt x="740" y="200"/>
                  </a:lnTo>
                  <a:lnTo>
                    <a:pt x="740" y="202"/>
                  </a:lnTo>
                  <a:lnTo>
                    <a:pt x="738" y="204"/>
                  </a:lnTo>
                  <a:lnTo>
                    <a:pt x="738" y="206"/>
                  </a:lnTo>
                  <a:lnTo>
                    <a:pt x="736" y="206"/>
                  </a:lnTo>
                  <a:lnTo>
                    <a:pt x="736" y="208"/>
                  </a:lnTo>
                  <a:lnTo>
                    <a:pt x="734" y="210"/>
                  </a:lnTo>
                  <a:lnTo>
                    <a:pt x="734" y="212"/>
                  </a:lnTo>
                  <a:lnTo>
                    <a:pt x="732" y="212"/>
                  </a:lnTo>
                  <a:lnTo>
                    <a:pt x="730" y="214"/>
                  </a:lnTo>
                  <a:lnTo>
                    <a:pt x="730" y="216"/>
                  </a:lnTo>
                  <a:lnTo>
                    <a:pt x="726" y="218"/>
                  </a:lnTo>
                  <a:lnTo>
                    <a:pt x="724" y="220"/>
                  </a:lnTo>
                  <a:lnTo>
                    <a:pt x="722" y="220"/>
                  </a:lnTo>
                  <a:lnTo>
                    <a:pt x="720" y="222"/>
                  </a:lnTo>
                  <a:lnTo>
                    <a:pt x="718" y="224"/>
                  </a:lnTo>
                  <a:lnTo>
                    <a:pt x="716" y="224"/>
                  </a:lnTo>
                  <a:lnTo>
                    <a:pt x="714" y="226"/>
                  </a:lnTo>
                  <a:lnTo>
                    <a:pt x="712" y="226"/>
                  </a:lnTo>
                  <a:lnTo>
                    <a:pt x="710" y="228"/>
                  </a:lnTo>
                  <a:lnTo>
                    <a:pt x="708" y="230"/>
                  </a:lnTo>
                  <a:lnTo>
                    <a:pt x="706" y="230"/>
                  </a:lnTo>
                  <a:lnTo>
                    <a:pt x="684" y="238"/>
                  </a:lnTo>
                  <a:lnTo>
                    <a:pt x="400" y="238"/>
                  </a:lnTo>
                  <a:lnTo>
                    <a:pt x="398" y="236"/>
                  </a:lnTo>
                  <a:lnTo>
                    <a:pt x="0" y="926"/>
                  </a:lnTo>
                  <a:lnTo>
                    <a:pt x="400" y="1618"/>
                  </a:lnTo>
                  <a:lnTo>
                    <a:pt x="1198" y="1618"/>
                  </a:lnTo>
                  <a:lnTo>
                    <a:pt x="1200" y="1618"/>
                  </a:lnTo>
                  <a:lnTo>
                    <a:pt x="1312" y="1426"/>
                  </a:lnTo>
                  <a:close/>
                </a:path>
              </a:pathLst>
            </a:custGeom>
            <a:solidFill>
              <a:srgbClr val="50EC20"/>
            </a:solidFill>
            <a:ln w="38100" cap="flat" cmpd="sng">
              <a:solidFill>
                <a:srgbClr val="5F5F5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E"/>
            </a:p>
          </p:txBody>
        </p:sp>
        <p:sp>
          <p:nvSpPr>
            <p:cNvPr id="32781" name="Text Box 20"/>
            <p:cNvSpPr txBox="1">
              <a:spLocks noChangeArrowheads="1"/>
            </p:cNvSpPr>
            <p:nvPr/>
          </p:nvSpPr>
          <p:spPr bwMode="auto">
            <a:xfrm>
              <a:off x="1463" y="3123"/>
              <a:ext cx="785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5F5F5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GB" b="1">
                  <a:solidFill>
                    <a:srgbClr val="000000"/>
                  </a:solidFill>
                  <a:cs typeface="Arial" charset="0"/>
                </a:rPr>
                <a:t>Patient</a:t>
              </a:r>
            </a:p>
          </p:txBody>
        </p:sp>
      </p:grpSp>
      <p:grpSp>
        <p:nvGrpSpPr>
          <p:cNvPr id="32777" name="Group 21"/>
          <p:cNvGrpSpPr>
            <a:grpSpLocks/>
          </p:cNvGrpSpPr>
          <p:nvPr/>
        </p:nvGrpSpPr>
        <p:grpSpPr bwMode="auto">
          <a:xfrm>
            <a:off x="2686050" y="2036763"/>
            <a:ext cx="1754188" cy="1508125"/>
            <a:chOff x="1305" y="1479"/>
            <a:chExt cx="1105" cy="950"/>
          </a:xfrm>
        </p:grpSpPr>
        <p:sp>
          <p:nvSpPr>
            <p:cNvPr id="32778" name="Freeform 22"/>
            <p:cNvSpPr>
              <a:spLocks/>
            </p:cNvSpPr>
            <p:nvPr/>
          </p:nvSpPr>
          <p:spPr bwMode="auto">
            <a:xfrm>
              <a:off x="1305" y="1479"/>
              <a:ext cx="1105" cy="950"/>
            </a:xfrm>
            <a:custGeom>
              <a:avLst/>
              <a:gdLst>
                <a:gd name="T0" fmla="*/ 153 w 1612"/>
                <a:gd name="T1" fmla="*/ 305 h 1386"/>
                <a:gd name="T2" fmla="*/ 157 w 1612"/>
                <a:gd name="T3" fmla="*/ 304 h 1386"/>
                <a:gd name="T4" fmla="*/ 158 w 1612"/>
                <a:gd name="T5" fmla="*/ 304 h 1386"/>
                <a:gd name="T6" fmla="*/ 159 w 1612"/>
                <a:gd name="T7" fmla="*/ 302 h 1386"/>
                <a:gd name="T8" fmla="*/ 160 w 1612"/>
                <a:gd name="T9" fmla="*/ 302 h 1386"/>
                <a:gd name="T10" fmla="*/ 161 w 1612"/>
                <a:gd name="T11" fmla="*/ 301 h 1386"/>
                <a:gd name="T12" fmla="*/ 162 w 1612"/>
                <a:gd name="T13" fmla="*/ 300 h 1386"/>
                <a:gd name="T14" fmla="*/ 162 w 1612"/>
                <a:gd name="T15" fmla="*/ 299 h 1386"/>
                <a:gd name="T16" fmla="*/ 163 w 1612"/>
                <a:gd name="T17" fmla="*/ 298 h 1386"/>
                <a:gd name="T18" fmla="*/ 164 w 1612"/>
                <a:gd name="T19" fmla="*/ 297 h 1386"/>
                <a:gd name="T20" fmla="*/ 164 w 1612"/>
                <a:gd name="T21" fmla="*/ 297 h 1386"/>
                <a:gd name="T22" fmla="*/ 158 w 1612"/>
                <a:gd name="T23" fmla="*/ 286 h 1386"/>
                <a:gd name="T24" fmla="*/ 147 w 1612"/>
                <a:gd name="T25" fmla="*/ 277 h 1386"/>
                <a:gd name="T26" fmla="*/ 145 w 1612"/>
                <a:gd name="T27" fmla="*/ 271 h 1386"/>
                <a:gd name="T28" fmla="*/ 149 w 1612"/>
                <a:gd name="T29" fmla="*/ 264 h 1386"/>
                <a:gd name="T30" fmla="*/ 168 w 1612"/>
                <a:gd name="T31" fmla="*/ 254 h 1386"/>
                <a:gd name="T32" fmla="*/ 187 w 1612"/>
                <a:gd name="T33" fmla="*/ 254 h 1386"/>
                <a:gd name="T34" fmla="*/ 206 w 1612"/>
                <a:gd name="T35" fmla="*/ 264 h 1386"/>
                <a:gd name="T36" fmla="*/ 210 w 1612"/>
                <a:gd name="T37" fmla="*/ 271 h 1386"/>
                <a:gd name="T38" fmla="*/ 208 w 1612"/>
                <a:gd name="T39" fmla="*/ 277 h 1386"/>
                <a:gd name="T40" fmla="*/ 197 w 1612"/>
                <a:gd name="T41" fmla="*/ 286 h 1386"/>
                <a:gd name="T42" fmla="*/ 192 w 1612"/>
                <a:gd name="T43" fmla="*/ 297 h 1386"/>
                <a:gd name="T44" fmla="*/ 192 w 1612"/>
                <a:gd name="T45" fmla="*/ 297 h 1386"/>
                <a:gd name="T46" fmla="*/ 192 w 1612"/>
                <a:gd name="T47" fmla="*/ 298 h 1386"/>
                <a:gd name="T48" fmla="*/ 193 w 1612"/>
                <a:gd name="T49" fmla="*/ 299 h 1386"/>
                <a:gd name="T50" fmla="*/ 193 w 1612"/>
                <a:gd name="T51" fmla="*/ 300 h 1386"/>
                <a:gd name="T52" fmla="*/ 194 w 1612"/>
                <a:gd name="T53" fmla="*/ 301 h 1386"/>
                <a:gd name="T54" fmla="*/ 195 w 1612"/>
                <a:gd name="T55" fmla="*/ 302 h 1386"/>
                <a:gd name="T56" fmla="*/ 196 w 1612"/>
                <a:gd name="T57" fmla="*/ 302 h 1386"/>
                <a:gd name="T58" fmla="*/ 197 w 1612"/>
                <a:gd name="T59" fmla="*/ 304 h 1386"/>
                <a:gd name="T60" fmla="*/ 198 w 1612"/>
                <a:gd name="T61" fmla="*/ 304 h 1386"/>
                <a:gd name="T62" fmla="*/ 202 w 1612"/>
                <a:gd name="T63" fmla="*/ 305 h 1386"/>
                <a:gd name="T64" fmla="*/ 292 w 1612"/>
                <a:gd name="T65" fmla="*/ 258 h 1386"/>
                <a:gd name="T66" fmla="*/ 293 w 1612"/>
                <a:gd name="T67" fmla="*/ 244 h 1386"/>
                <a:gd name="T68" fmla="*/ 286 w 1612"/>
                <a:gd name="T69" fmla="*/ 239 h 1386"/>
                <a:gd name="T70" fmla="*/ 272 w 1612"/>
                <a:gd name="T71" fmla="*/ 244 h 1386"/>
                <a:gd name="T72" fmla="*/ 260 w 1612"/>
                <a:gd name="T73" fmla="*/ 243 h 1386"/>
                <a:gd name="T74" fmla="*/ 255 w 1612"/>
                <a:gd name="T75" fmla="*/ 236 h 1386"/>
                <a:gd name="T76" fmla="*/ 256 w 1612"/>
                <a:gd name="T77" fmla="*/ 215 h 1386"/>
                <a:gd name="T78" fmla="*/ 266 w 1612"/>
                <a:gd name="T79" fmla="*/ 199 h 1386"/>
                <a:gd name="T80" fmla="*/ 283 w 1612"/>
                <a:gd name="T81" fmla="*/ 187 h 1386"/>
                <a:gd name="T82" fmla="*/ 292 w 1612"/>
                <a:gd name="T83" fmla="*/ 188 h 1386"/>
                <a:gd name="T84" fmla="*/ 298 w 1612"/>
                <a:gd name="T85" fmla="*/ 199 h 1386"/>
                <a:gd name="T86" fmla="*/ 301 w 1612"/>
                <a:gd name="T87" fmla="*/ 212 h 1386"/>
                <a:gd name="T88" fmla="*/ 308 w 1612"/>
                <a:gd name="T89" fmla="*/ 217 h 1386"/>
                <a:gd name="T90" fmla="*/ 353 w 1612"/>
                <a:gd name="T91" fmla="*/ 154 h 1386"/>
                <a:gd name="T92" fmla="*/ 316 w 1612"/>
                <a:gd name="T93" fmla="*/ 84 h 1386"/>
                <a:gd name="T94" fmla="*/ 319 w 1612"/>
                <a:gd name="T95" fmla="*/ 75 h 1386"/>
                <a:gd name="T96" fmla="*/ 331 w 1612"/>
                <a:gd name="T97" fmla="*/ 75 h 1386"/>
                <a:gd name="T98" fmla="*/ 345 w 1612"/>
                <a:gd name="T99" fmla="*/ 80 h 1386"/>
                <a:gd name="T100" fmla="*/ 352 w 1612"/>
                <a:gd name="T101" fmla="*/ 76 h 1386"/>
                <a:gd name="T102" fmla="*/ 356 w 1612"/>
                <a:gd name="T103" fmla="*/ 65 h 1386"/>
                <a:gd name="T104" fmla="*/ 349 w 1612"/>
                <a:gd name="T105" fmla="*/ 44 h 1386"/>
                <a:gd name="T106" fmla="*/ 331 w 1612"/>
                <a:gd name="T107" fmla="*/ 26 h 1386"/>
                <a:gd name="T108" fmla="*/ 320 w 1612"/>
                <a:gd name="T109" fmla="*/ 24 h 1386"/>
                <a:gd name="T110" fmla="*/ 313 w 1612"/>
                <a:gd name="T111" fmla="*/ 31 h 1386"/>
                <a:gd name="T112" fmla="*/ 312 w 1612"/>
                <a:gd name="T113" fmla="*/ 40 h 1386"/>
                <a:gd name="T114" fmla="*/ 307 w 1612"/>
                <a:gd name="T115" fmla="*/ 51 h 1386"/>
                <a:gd name="T116" fmla="*/ 300 w 1612"/>
                <a:gd name="T117" fmla="*/ 53 h 1386"/>
                <a:gd name="T118" fmla="*/ 88 w 1612"/>
                <a:gd name="T119" fmla="*/ 0 h 138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612" h="1386">
                  <a:moveTo>
                    <a:pt x="674" y="1382"/>
                  </a:moveTo>
                  <a:lnTo>
                    <a:pt x="674" y="1382"/>
                  </a:lnTo>
                  <a:lnTo>
                    <a:pt x="670" y="1382"/>
                  </a:lnTo>
                  <a:lnTo>
                    <a:pt x="694" y="1382"/>
                  </a:lnTo>
                  <a:lnTo>
                    <a:pt x="706" y="1378"/>
                  </a:lnTo>
                  <a:lnTo>
                    <a:pt x="708" y="1378"/>
                  </a:lnTo>
                  <a:lnTo>
                    <a:pt x="710" y="1376"/>
                  </a:lnTo>
                  <a:lnTo>
                    <a:pt x="712" y="1374"/>
                  </a:lnTo>
                  <a:lnTo>
                    <a:pt x="714" y="1374"/>
                  </a:lnTo>
                  <a:lnTo>
                    <a:pt x="716" y="1372"/>
                  </a:lnTo>
                  <a:lnTo>
                    <a:pt x="718" y="1372"/>
                  </a:lnTo>
                  <a:lnTo>
                    <a:pt x="720" y="1370"/>
                  </a:lnTo>
                  <a:lnTo>
                    <a:pt x="722" y="1368"/>
                  </a:lnTo>
                  <a:lnTo>
                    <a:pt x="724" y="1368"/>
                  </a:lnTo>
                  <a:lnTo>
                    <a:pt x="726" y="1366"/>
                  </a:lnTo>
                  <a:lnTo>
                    <a:pt x="730" y="1364"/>
                  </a:lnTo>
                  <a:lnTo>
                    <a:pt x="730" y="1362"/>
                  </a:lnTo>
                  <a:lnTo>
                    <a:pt x="732" y="1360"/>
                  </a:lnTo>
                  <a:lnTo>
                    <a:pt x="734" y="1360"/>
                  </a:lnTo>
                  <a:lnTo>
                    <a:pt x="734" y="1358"/>
                  </a:lnTo>
                  <a:lnTo>
                    <a:pt x="736" y="1356"/>
                  </a:lnTo>
                  <a:lnTo>
                    <a:pt x="736" y="1354"/>
                  </a:lnTo>
                  <a:lnTo>
                    <a:pt x="738" y="1354"/>
                  </a:lnTo>
                  <a:lnTo>
                    <a:pt x="738" y="1352"/>
                  </a:lnTo>
                  <a:lnTo>
                    <a:pt x="740" y="1350"/>
                  </a:lnTo>
                  <a:lnTo>
                    <a:pt x="740" y="1348"/>
                  </a:lnTo>
                  <a:lnTo>
                    <a:pt x="740" y="1346"/>
                  </a:lnTo>
                  <a:lnTo>
                    <a:pt x="740" y="1342"/>
                  </a:lnTo>
                  <a:lnTo>
                    <a:pt x="740" y="1330"/>
                  </a:lnTo>
                  <a:lnTo>
                    <a:pt x="736" y="1320"/>
                  </a:lnTo>
                  <a:lnTo>
                    <a:pt x="734" y="1312"/>
                  </a:lnTo>
                  <a:lnTo>
                    <a:pt x="728" y="1306"/>
                  </a:lnTo>
                  <a:lnTo>
                    <a:pt x="716" y="1296"/>
                  </a:lnTo>
                  <a:lnTo>
                    <a:pt x="700" y="1286"/>
                  </a:lnTo>
                  <a:lnTo>
                    <a:pt x="686" y="1278"/>
                  </a:lnTo>
                  <a:lnTo>
                    <a:pt x="674" y="1268"/>
                  </a:lnTo>
                  <a:lnTo>
                    <a:pt x="668" y="1262"/>
                  </a:lnTo>
                  <a:lnTo>
                    <a:pt x="664" y="1254"/>
                  </a:lnTo>
                  <a:lnTo>
                    <a:pt x="662" y="1244"/>
                  </a:lnTo>
                  <a:lnTo>
                    <a:pt x="660" y="1232"/>
                  </a:lnTo>
                  <a:lnTo>
                    <a:pt x="662" y="1222"/>
                  </a:lnTo>
                  <a:lnTo>
                    <a:pt x="664" y="1212"/>
                  </a:lnTo>
                  <a:lnTo>
                    <a:pt x="670" y="1202"/>
                  </a:lnTo>
                  <a:lnTo>
                    <a:pt x="676" y="1194"/>
                  </a:lnTo>
                  <a:lnTo>
                    <a:pt x="684" y="1186"/>
                  </a:lnTo>
                  <a:lnTo>
                    <a:pt x="694" y="1178"/>
                  </a:lnTo>
                  <a:lnTo>
                    <a:pt x="714" y="1166"/>
                  </a:lnTo>
                  <a:lnTo>
                    <a:pt x="738" y="1158"/>
                  </a:lnTo>
                  <a:lnTo>
                    <a:pt x="762" y="1152"/>
                  </a:lnTo>
                  <a:lnTo>
                    <a:pt x="786" y="1150"/>
                  </a:lnTo>
                  <a:lnTo>
                    <a:pt x="804" y="1148"/>
                  </a:lnTo>
                  <a:lnTo>
                    <a:pt x="824" y="1150"/>
                  </a:lnTo>
                  <a:lnTo>
                    <a:pt x="846" y="1152"/>
                  </a:lnTo>
                  <a:lnTo>
                    <a:pt x="870" y="1158"/>
                  </a:lnTo>
                  <a:lnTo>
                    <a:pt x="894" y="1166"/>
                  </a:lnTo>
                  <a:lnTo>
                    <a:pt x="916" y="1178"/>
                  </a:lnTo>
                  <a:lnTo>
                    <a:pt x="924" y="1186"/>
                  </a:lnTo>
                  <a:lnTo>
                    <a:pt x="932" y="1194"/>
                  </a:lnTo>
                  <a:lnTo>
                    <a:pt x="940" y="1202"/>
                  </a:lnTo>
                  <a:lnTo>
                    <a:pt x="944" y="1212"/>
                  </a:lnTo>
                  <a:lnTo>
                    <a:pt x="948" y="1222"/>
                  </a:lnTo>
                  <a:lnTo>
                    <a:pt x="948" y="1232"/>
                  </a:lnTo>
                  <a:lnTo>
                    <a:pt x="948" y="1244"/>
                  </a:lnTo>
                  <a:lnTo>
                    <a:pt x="944" y="1254"/>
                  </a:lnTo>
                  <a:lnTo>
                    <a:pt x="940" y="1262"/>
                  </a:lnTo>
                  <a:lnTo>
                    <a:pt x="936" y="1268"/>
                  </a:lnTo>
                  <a:lnTo>
                    <a:pt x="922" y="1278"/>
                  </a:lnTo>
                  <a:lnTo>
                    <a:pt x="908" y="1286"/>
                  </a:lnTo>
                  <a:lnTo>
                    <a:pt x="894" y="1296"/>
                  </a:lnTo>
                  <a:lnTo>
                    <a:pt x="880" y="1306"/>
                  </a:lnTo>
                  <a:lnTo>
                    <a:pt x="876" y="1312"/>
                  </a:lnTo>
                  <a:lnTo>
                    <a:pt x="872" y="1320"/>
                  </a:lnTo>
                  <a:lnTo>
                    <a:pt x="870" y="1330"/>
                  </a:lnTo>
                  <a:lnTo>
                    <a:pt x="868" y="1342"/>
                  </a:lnTo>
                  <a:lnTo>
                    <a:pt x="868" y="1346"/>
                  </a:lnTo>
                  <a:lnTo>
                    <a:pt x="868" y="1348"/>
                  </a:lnTo>
                  <a:lnTo>
                    <a:pt x="870" y="1350"/>
                  </a:lnTo>
                  <a:lnTo>
                    <a:pt x="870" y="1352"/>
                  </a:lnTo>
                  <a:lnTo>
                    <a:pt x="872" y="1354"/>
                  </a:lnTo>
                  <a:lnTo>
                    <a:pt x="874" y="1356"/>
                  </a:lnTo>
                  <a:lnTo>
                    <a:pt x="874" y="1358"/>
                  </a:lnTo>
                  <a:lnTo>
                    <a:pt x="876" y="1360"/>
                  </a:lnTo>
                  <a:lnTo>
                    <a:pt x="878" y="1362"/>
                  </a:lnTo>
                  <a:lnTo>
                    <a:pt x="880" y="1364"/>
                  </a:lnTo>
                  <a:lnTo>
                    <a:pt x="882" y="1366"/>
                  </a:lnTo>
                  <a:lnTo>
                    <a:pt x="884" y="1368"/>
                  </a:lnTo>
                  <a:lnTo>
                    <a:pt x="886" y="1368"/>
                  </a:lnTo>
                  <a:lnTo>
                    <a:pt x="888" y="1370"/>
                  </a:lnTo>
                  <a:lnTo>
                    <a:pt x="890" y="1372"/>
                  </a:lnTo>
                  <a:lnTo>
                    <a:pt x="892" y="1372"/>
                  </a:lnTo>
                  <a:lnTo>
                    <a:pt x="894" y="1374"/>
                  </a:lnTo>
                  <a:lnTo>
                    <a:pt x="896" y="1374"/>
                  </a:lnTo>
                  <a:lnTo>
                    <a:pt x="898" y="1376"/>
                  </a:lnTo>
                  <a:lnTo>
                    <a:pt x="902" y="1378"/>
                  </a:lnTo>
                  <a:lnTo>
                    <a:pt x="914" y="1382"/>
                  </a:lnTo>
                  <a:lnTo>
                    <a:pt x="940" y="1382"/>
                  </a:lnTo>
                  <a:lnTo>
                    <a:pt x="934" y="1382"/>
                  </a:lnTo>
                  <a:lnTo>
                    <a:pt x="1198" y="1386"/>
                  </a:lnTo>
                  <a:lnTo>
                    <a:pt x="1322" y="1172"/>
                  </a:lnTo>
                  <a:lnTo>
                    <a:pt x="1326" y="1150"/>
                  </a:lnTo>
                  <a:lnTo>
                    <a:pt x="1330" y="1126"/>
                  </a:lnTo>
                  <a:lnTo>
                    <a:pt x="1328" y="1114"/>
                  </a:lnTo>
                  <a:lnTo>
                    <a:pt x="1326" y="1104"/>
                  </a:lnTo>
                  <a:lnTo>
                    <a:pt x="1322" y="1094"/>
                  </a:lnTo>
                  <a:lnTo>
                    <a:pt x="1316" y="1088"/>
                  </a:lnTo>
                  <a:lnTo>
                    <a:pt x="1304" y="1084"/>
                  </a:lnTo>
                  <a:lnTo>
                    <a:pt x="1294" y="1080"/>
                  </a:lnTo>
                  <a:lnTo>
                    <a:pt x="1286" y="1080"/>
                  </a:lnTo>
                  <a:lnTo>
                    <a:pt x="1278" y="1082"/>
                  </a:lnTo>
                  <a:lnTo>
                    <a:pt x="1262" y="1086"/>
                  </a:lnTo>
                  <a:lnTo>
                    <a:pt x="1248" y="1096"/>
                  </a:lnTo>
                  <a:lnTo>
                    <a:pt x="1232" y="1104"/>
                  </a:lnTo>
                  <a:lnTo>
                    <a:pt x="1218" y="1110"/>
                  </a:lnTo>
                  <a:lnTo>
                    <a:pt x="1208" y="1110"/>
                  </a:lnTo>
                  <a:lnTo>
                    <a:pt x="1200" y="1110"/>
                  </a:lnTo>
                  <a:lnTo>
                    <a:pt x="1190" y="1108"/>
                  </a:lnTo>
                  <a:lnTo>
                    <a:pt x="1180" y="1102"/>
                  </a:lnTo>
                  <a:lnTo>
                    <a:pt x="1170" y="1096"/>
                  </a:lnTo>
                  <a:lnTo>
                    <a:pt x="1164" y="1088"/>
                  </a:lnTo>
                  <a:lnTo>
                    <a:pt x="1158" y="1080"/>
                  </a:lnTo>
                  <a:lnTo>
                    <a:pt x="1154" y="1070"/>
                  </a:lnTo>
                  <a:lnTo>
                    <a:pt x="1152" y="1060"/>
                  </a:lnTo>
                  <a:lnTo>
                    <a:pt x="1150" y="1048"/>
                  </a:lnTo>
                  <a:lnTo>
                    <a:pt x="1150" y="1024"/>
                  </a:lnTo>
                  <a:lnTo>
                    <a:pt x="1154" y="998"/>
                  </a:lnTo>
                  <a:lnTo>
                    <a:pt x="1162" y="974"/>
                  </a:lnTo>
                  <a:lnTo>
                    <a:pt x="1170" y="954"/>
                  </a:lnTo>
                  <a:lnTo>
                    <a:pt x="1180" y="936"/>
                  </a:lnTo>
                  <a:lnTo>
                    <a:pt x="1190" y="920"/>
                  </a:lnTo>
                  <a:lnTo>
                    <a:pt x="1204" y="902"/>
                  </a:lnTo>
                  <a:lnTo>
                    <a:pt x="1220" y="884"/>
                  </a:lnTo>
                  <a:lnTo>
                    <a:pt x="1240" y="868"/>
                  </a:lnTo>
                  <a:lnTo>
                    <a:pt x="1260" y="856"/>
                  </a:lnTo>
                  <a:lnTo>
                    <a:pt x="1272" y="850"/>
                  </a:lnTo>
                  <a:lnTo>
                    <a:pt x="1282" y="848"/>
                  </a:lnTo>
                  <a:lnTo>
                    <a:pt x="1292" y="846"/>
                  </a:lnTo>
                  <a:lnTo>
                    <a:pt x="1304" y="846"/>
                  </a:lnTo>
                  <a:lnTo>
                    <a:pt x="1314" y="848"/>
                  </a:lnTo>
                  <a:lnTo>
                    <a:pt x="1324" y="854"/>
                  </a:lnTo>
                  <a:lnTo>
                    <a:pt x="1334" y="860"/>
                  </a:lnTo>
                  <a:lnTo>
                    <a:pt x="1340" y="868"/>
                  </a:lnTo>
                  <a:lnTo>
                    <a:pt x="1346" y="874"/>
                  </a:lnTo>
                  <a:lnTo>
                    <a:pt x="1348" y="882"/>
                  </a:lnTo>
                  <a:lnTo>
                    <a:pt x="1350" y="900"/>
                  </a:lnTo>
                  <a:lnTo>
                    <a:pt x="1350" y="916"/>
                  </a:lnTo>
                  <a:lnTo>
                    <a:pt x="1350" y="932"/>
                  </a:lnTo>
                  <a:lnTo>
                    <a:pt x="1354" y="948"/>
                  </a:lnTo>
                  <a:lnTo>
                    <a:pt x="1358" y="956"/>
                  </a:lnTo>
                  <a:lnTo>
                    <a:pt x="1362" y="964"/>
                  </a:lnTo>
                  <a:lnTo>
                    <a:pt x="1370" y="972"/>
                  </a:lnTo>
                  <a:lnTo>
                    <a:pt x="1380" y="978"/>
                  </a:lnTo>
                  <a:lnTo>
                    <a:pt x="1388" y="980"/>
                  </a:lnTo>
                  <a:lnTo>
                    <a:pt x="1398" y="980"/>
                  </a:lnTo>
                  <a:lnTo>
                    <a:pt x="1408" y="976"/>
                  </a:lnTo>
                  <a:lnTo>
                    <a:pt x="1418" y="972"/>
                  </a:lnTo>
                  <a:lnTo>
                    <a:pt x="1438" y="958"/>
                  </a:lnTo>
                  <a:lnTo>
                    <a:pt x="1456" y="942"/>
                  </a:lnTo>
                  <a:lnTo>
                    <a:pt x="1598" y="696"/>
                  </a:lnTo>
                  <a:lnTo>
                    <a:pt x="1436" y="418"/>
                  </a:lnTo>
                  <a:lnTo>
                    <a:pt x="1434" y="400"/>
                  </a:lnTo>
                  <a:lnTo>
                    <a:pt x="1432" y="382"/>
                  </a:lnTo>
                  <a:lnTo>
                    <a:pt x="1432" y="370"/>
                  </a:lnTo>
                  <a:lnTo>
                    <a:pt x="1434" y="358"/>
                  </a:lnTo>
                  <a:lnTo>
                    <a:pt x="1440" y="348"/>
                  </a:lnTo>
                  <a:lnTo>
                    <a:pt x="1446" y="342"/>
                  </a:lnTo>
                  <a:lnTo>
                    <a:pt x="1456" y="338"/>
                  </a:lnTo>
                  <a:lnTo>
                    <a:pt x="1466" y="334"/>
                  </a:lnTo>
                  <a:lnTo>
                    <a:pt x="1476" y="334"/>
                  </a:lnTo>
                  <a:lnTo>
                    <a:pt x="1484" y="334"/>
                  </a:lnTo>
                  <a:lnTo>
                    <a:pt x="1500" y="340"/>
                  </a:lnTo>
                  <a:lnTo>
                    <a:pt x="1514" y="348"/>
                  </a:lnTo>
                  <a:lnTo>
                    <a:pt x="1528" y="358"/>
                  </a:lnTo>
                  <a:lnTo>
                    <a:pt x="1544" y="364"/>
                  </a:lnTo>
                  <a:lnTo>
                    <a:pt x="1552" y="364"/>
                  </a:lnTo>
                  <a:lnTo>
                    <a:pt x="1562" y="364"/>
                  </a:lnTo>
                  <a:lnTo>
                    <a:pt x="1572" y="362"/>
                  </a:lnTo>
                  <a:lnTo>
                    <a:pt x="1582" y="356"/>
                  </a:lnTo>
                  <a:lnTo>
                    <a:pt x="1590" y="352"/>
                  </a:lnTo>
                  <a:lnTo>
                    <a:pt x="1596" y="346"/>
                  </a:lnTo>
                  <a:lnTo>
                    <a:pt x="1600" y="340"/>
                  </a:lnTo>
                  <a:lnTo>
                    <a:pt x="1604" y="332"/>
                  </a:lnTo>
                  <a:lnTo>
                    <a:pt x="1610" y="316"/>
                  </a:lnTo>
                  <a:lnTo>
                    <a:pt x="1612" y="296"/>
                  </a:lnTo>
                  <a:lnTo>
                    <a:pt x="1608" y="268"/>
                  </a:lnTo>
                  <a:lnTo>
                    <a:pt x="1602" y="242"/>
                  </a:lnTo>
                  <a:lnTo>
                    <a:pt x="1592" y="218"/>
                  </a:lnTo>
                  <a:lnTo>
                    <a:pt x="1582" y="198"/>
                  </a:lnTo>
                  <a:lnTo>
                    <a:pt x="1572" y="182"/>
                  </a:lnTo>
                  <a:lnTo>
                    <a:pt x="1558" y="164"/>
                  </a:lnTo>
                  <a:lnTo>
                    <a:pt x="1542" y="146"/>
                  </a:lnTo>
                  <a:lnTo>
                    <a:pt x="1522" y="130"/>
                  </a:lnTo>
                  <a:lnTo>
                    <a:pt x="1500" y="116"/>
                  </a:lnTo>
                  <a:lnTo>
                    <a:pt x="1490" y="112"/>
                  </a:lnTo>
                  <a:lnTo>
                    <a:pt x="1480" y="108"/>
                  </a:lnTo>
                  <a:lnTo>
                    <a:pt x="1468" y="108"/>
                  </a:lnTo>
                  <a:lnTo>
                    <a:pt x="1458" y="108"/>
                  </a:lnTo>
                  <a:lnTo>
                    <a:pt x="1448" y="110"/>
                  </a:lnTo>
                  <a:lnTo>
                    <a:pt x="1438" y="116"/>
                  </a:lnTo>
                  <a:lnTo>
                    <a:pt x="1430" y="120"/>
                  </a:lnTo>
                  <a:lnTo>
                    <a:pt x="1424" y="126"/>
                  </a:lnTo>
                  <a:lnTo>
                    <a:pt x="1416" y="138"/>
                  </a:lnTo>
                  <a:lnTo>
                    <a:pt x="1412" y="150"/>
                  </a:lnTo>
                  <a:lnTo>
                    <a:pt x="1410" y="164"/>
                  </a:lnTo>
                  <a:lnTo>
                    <a:pt x="1412" y="182"/>
                  </a:lnTo>
                  <a:lnTo>
                    <a:pt x="1410" y="198"/>
                  </a:lnTo>
                  <a:lnTo>
                    <a:pt x="1408" y="212"/>
                  </a:lnTo>
                  <a:lnTo>
                    <a:pt x="1404" y="220"/>
                  </a:lnTo>
                  <a:lnTo>
                    <a:pt x="1398" y="226"/>
                  </a:lnTo>
                  <a:lnTo>
                    <a:pt x="1392" y="234"/>
                  </a:lnTo>
                  <a:lnTo>
                    <a:pt x="1382" y="240"/>
                  </a:lnTo>
                  <a:lnTo>
                    <a:pt x="1376" y="242"/>
                  </a:lnTo>
                  <a:lnTo>
                    <a:pt x="1368" y="242"/>
                  </a:lnTo>
                  <a:lnTo>
                    <a:pt x="1360" y="240"/>
                  </a:lnTo>
                  <a:lnTo>
                    <a:pt x="1352" y="238"/>
                  </a:lnTo>
                  <a:lnTo>
                    <a:pt x="1334" y="228"/>
                  </a:lnTo>
                  <a:lnTo>
                    <a:pt x="1320" y="216"/>
                  </a:lnTo>
                  <a:lnTo>
                    <a:pt x="1198" y="0"/>
                  </a:lnTo>
                  <a:lnTo>
                    <a:pt x="400" y="0"/>
                  </a:lnTo>
                  <a:lnTo>
                    <a:pt x="0" y="694"/>
                  </a:lnTo>
                  <a:lnTo>
                    <a:pt x="398" y="1384"/>
                  </a:lnTo>
                  <a:lnTo>
                    <a:pt x="400" y="1382"/>
                  </a:lnTo>
                  <a:lnTo>
                    <a:pt x="674" y="1382"/>
                  </a:lnTo>
                  <a:close/>
                </a:path>
              </a:pathLst>
            </a:custGeom>
            <a:solidFill>
              <a:srgbClr val="20B7EC"/>
            </a:solidFill>
            <a:ln w="38100" cap="flat" cmpd="sng">
              <a:solidFill>
                <a:srgbClr val="5F5F5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IE"/>
            </a:p>
          </p:txBody>
        </p:sp>
        <p:sp>
          <p:nvSpPr>
            <p:cNvPr id="32779" name="Text Box 23"/>
            <p:cNvSpPr txBox="1">
              <a:spLocks noChangeArrowheads="1"/>
            </p:cNvSpPr>
            <p:nvPr/>
          </p:nvSpPr>
          <p:spPr bwMode="auto">
            <a:xfrm flipH="1">
              <a:off x="1463" y="1758"/>
              <a:ext cx="890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5F5F5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GB" b="1">
                  <a:solidFill>
                    <a:srgbClr val="000000"/>
                  </a:solidFill>
                  <a:cs typeface="Arial" charset="0"/>
                </a:rPr>
                <a:t>Medic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12272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9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333375"/>
            <a:ext cx="8748713" cy="936625"/>
          </a:xfrm>
        </p:spPr>
        <p:txBody>
          <a:bodyPr/>
          <a:lstStyle/>
          <a:p>
            <a:pPr eaLnBrk="1" hangingPunct="1"/>
            <a:r>
              <a:rPr lang="en-IE" sz="3600" b="1" smtClean="0">
                <a:solidFill>
                  <a:srgbClr val="091D67"/>
                </a:solidFill>
              </a:rPr>
              <a:t>Solution – Adopt the Retail Track and Trace  Model based on GS1 Standards</a:t>
            </a:r>
            <a:endParaRPr lang="en-GB" sz="3600" b="1" smtClean="0">
              <a:solidFill>
                <a:srgbClr val="091D67"/>
              </a:solidFill>
            </a:endParaRPr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2036763"/>
            <a:ext cx="8229600" cy="4525962"/>
          </a:xfrm>
        </p:spPr>
        <p:txBody>
          <a:bodyPr/>
          <a:lstStyle/>
          <a:p>
            <a:pPr eaLnBrk="1" hangingPunct="1"/>
            <a:r>
              <a:rPr lang="en-IE" sz="2400" smtClean="0"/>
              <a:t>Unique identification (barcode) of  patient – </a:t>
            </a:r>
            <a:r>
              <a:rPr lang="en-IE" sz="2400" b="1" smtClean="0"/>
              <a:t>PMGSRN</a:t>
            </a:r>
          </a:p>
          <a:p>
            <a:pPr eaLnBrk="1" hangingPunct="1">
              <a:buFontTx/>
              <a:buNone/>
            </a:pPr>
            <a:endParaRPr lang="en-IE" sz="2400" smtClean="0"/>
          </a:p>
          <a:p>
            <a:pPr eaLnBrk="1" hangingPunct="1"/>
            <a:r>
              <a:rPr lang="en-IE" sz="2400" smtClean="0"/>
              <a:t>Unique identification (barcode) of medication - Serialised </a:t>
            </a:r>
            <a:r>
              <a:rPr lang="en-IE" sz="2400" b="1" smtClean="0"/>
              <a:t>GTIN</a:t>
            </a:r>
          </a:p>
          <a:p>
            <a:pPr eaLnBrk="1" hangingPunct="1">
              <a:buFontTx/>
              <a:buNone/>
            </a:pPr>
            <a:endParaRPr lang="en-IE" sz="2400" smtClean="0"/>
          </a:p>
          <a:p>
            <a:pPr eaLnBrk="1" hangingPunct="1"/>
            <a:r>
              <a:rPr lang="en-IE" sz="2400" smtClean="0"/>
              <a:t>Unique identification (barcode) of locations (Hospital/Home/Pharmacy/Transport) - </a:t>
            </a:r>
            <a:r>
              <a:rPr lang="en-IE" sz="2400" b="1" smtClean="0"/>
              <a:t>GLN</a:t>
            </a:r>
          </a:p>
          <a:p>
            <a:pPr eaLnBrk="1" hangingPunct="1">
              <a:buFontTx/>
              <a:buNone/>
            </a:pPr>
            <a:endParaRPr lang="en-IE" sz="2400" smtClean="0"/>
          </a:p>
          <a:p>
            <a:pPr eaLnBrk="1" hangingPunct="1">
              <a:buFontTx/>
              <a:buNone/>
            </a:pPr>
            <a:endParaRPr lang="en-GB" sz="2400" smtClean="0"/>
          </a:p>
        </p:txBody>
      </p:sp>
    </p:spTree>
    <p:extLst>
      <p:ext uri="{BB962C8B-B14F-4D97-AF65-F5344CB8AC3E}">
        <p14:creationId xmlns:p14="http://schemas.microsoft.com/office/powerpoint/2010/main" val="242349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 idx="4294967295"/>
          </p:nvPr>
        </p:nvSpPr>
        <p:spPr>
          <a:xfrm>
            <a:off x="457200" y="274638"/>
            <a:ext cx="8229600" cy="777875"/>
          </a:xfrm>
        </p:spPr>
        <p:txBody>
          <a:bodyPr/>
          <a:lstStyle/>
          <a:p>
            <a:pPr eaLnBrk="1" hangingPunct="1"/>
            <a:r>
              <a:rPr lang="en-IE" sz="4000" b="1" smtClean="0">
                <a:solidFill>
                  <a:srgbClr val="091D67"/>
                </a:solidFill>
              </a:rPr>
              <a:t>Solution</a:t>
            </a:r>
          </a:p>
        </p:txBody>
      </p:sp>
      <p:pic>
        <p:nvPicPr>
          <p:cNvPr id="34819" name="Picture 2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558"/>
          <a:stretch>
            <a:fillRect/>
          </a:stretch>
        </p:blipFill>
        <p:spPr bwMode="auto">
          <a:xfrm>
            <a:off x="0" y="1285875"/>
            <a:ext cx="9144000" cy="226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32685" y="3637134"/>
            <a:ext cx="2218099" cy="100493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/>
        </p:spPr>
      </p:pic>
      <p:pic>
        <p:nvPicPr>
          <p:cNvPr id="34821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52800" y="3492500"/>
            <a:ext cx="2378075" cy="190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9088" y="3455988"/>
            <a:ext cx="2212975" cy="1938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49129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 noGrp="1"/>
          </p:cNvSpPr>
          <p:nvPr>
            <p:ph type="title"/>
          </p:nvPr>
        </p:nvSpPr>
        <p:spPr>
          <a:xfrm>
            <a:off x="395288" y="2592388"/>
            <a:ext cx="8229600" cy="1143000"/>
          </a:xfrm>
        </p:spPr>
        <p:txBody>
          <a:bodyPr/>
          <a:lstStyle/>
          <a:p>
            <a:r>
              <a:rPr lang="en-IE" b="1" dirty="0" smtClean="0">
                <a:solidFill>
                  <a:srgbClr val="002060"/>
                </a:solidFill>
              </a:rPr>
              <a:t>To prevent communication misunderstanding!</a:t>
            </a:r>
          </a:p>
        </p:txBody>
      </p:sp>
    </p:spTree>
    <p:extLst>
      <p:ext uri="{BB962C8B-B14F-4D97-AF65-F5344CB8AC3E}">
        <p14:creationId xmlns:p14="http://schemas.microsoft.com/office/powerpoint/2010/main" val="733302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7156" y="4140792"/>
            <a:ext cx="2405845" cy="18074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7156" y="5733981"/>
            <a:ext cx="2256408" cy="2142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7156" y="5493259"/>
            <a:ext cx="1829124" cy="230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7156" y="5267912"/>
            <a:ext cx="1549265" cy="225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7156" y="4990399"/>
            <a:ext cx="2256408" cy="2770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97986" name="Text Box 2"/>
          <p:cNvSpPr txBox="1">
            <a:spLocks noChangeArrowheads="1"/>
          </p:cNvSpPr>
          <p:nvPr/>
        </p:nvSpPr>
        <p:spPr bwMode="auto">
          <a:xfrm>
            <a:off x="1676400" y="0"/>
            <a:ext cx="6096000" cy="76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508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IE" sz="4400" b="1" dirty="0">
                <a:solidFill>
                  <a:srgbClr val="091D67"/>
                </a:solidFill>
                <a:latin typeface="+mj-lt"/>
              </a:rPr>
              <a:t>Identify</a:t>
            </a:r>
            <a:endParaRPr lang="en-GB" sz="4400" b="1" dirty="0">
              <a:solidFill>
                <a:srgbClr val="091D67"/>
              </a:solidFill>
              <a:latin typeface="+mj-lt"/>
            </a:endParaRPr>
          </a:p>
        </p:txBody>
      </p:sp>
      <p:sp>
        <p:nvSpPr>
          <p:cNvPr id="35843" name="Text Box 3"/>
          <p:cNvSpPr txBox="1">
            <a:spLocks noChangeArrowheads="1"/>
          </p:cNvSpPr>
          <p:nvPr/>
        </p:nvSpPr>
        <p:spPr bwMode="auto">
          <a:xfrm>
            <a:off x="1600200" y="3048000"/>
            <a:ext cx="6019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508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en-US" sz="2400" dirty="0">
              <a:latin typeface="Times New Roman" pitchFamily="18" charset="0"/>
            </a:endParaRPr>
          </a:p>
        </p:txBody>
      </p:sp>
      <p:sp>
        <p:nvSpPr>
          <p:cNvPr id="297988" name="AutoShape 4"/>
          <p:cNvSpPr>
            <a:spLocks/>
          </p:cNvSpPr>
          <p:nvPr/>
        </p:nvSpPr>
        <p:spPr bwMode="auto">
          <a:xfrm>
            <a:off x="4495800" y="914400"/>
            <a:ext cx="1447800" cy="5410200"/>
          </a:xfrm>
          <a:prstGeom prst="rightBrace">
            <a:avLst>
              <a:gd name="adj1" fmla="val 31140"/>
              <a:gd name="adj2" fmla="val 50000"/>
            </a:avLst>
          </a:prstGeom>
          <a:noFill/>
          <a:ln w="508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2400" dirty="0">
              <a:solidFill>
                <a:srgbClr val="000000"/>
              </a:solidFill>
              <a:latin typeface="Verdana" pitchFamily="34" charset="0"/>
            </a:endParaRPr>
          </a:p>
        </p:txBody>
      </p:sp>
      <p:sp>
        <p:nvSpPr>
          <p:cNvPr id="297989" name="Text Box 5"/>
          <p:cNvSpPr txBox="1">
            <a:spLocks noChangeArrowheads="1"/>
          </p:cNvSpPr>
          <p:nvPr/>
        </p:nvSpPr>
        <p:spPr bwMode="auto">
          <a:xfrm>
            <a:off x="5943600" y="1295400"/>
            <a:ext cx="2743200" cy="1004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508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IE" sz="2400" b="1" dirty="0">
                <a:latin typeface="Tahoma" pitchFamily="34" charset="0"/>
              </a:rPr>
              <a:t>Product Name</a:t>
            </a:r>
          </a:p>
          <a:p>
            <a:pPr algn="ctr" eaLnBrk="1" hangingPunct="1">
              <a:spcBef>
                <a:spcPct val="50000"/>
              </a:spcBef>
            </a:pPr>
            <a:r>
              <a:rPr lang="en-IE" sz="2400" b="1" dirty="0">
                <a:latin typeface="Tahoma" pitchFamily="34" charset="0"/>
              </a:rPr>
              <a:t>(GTIN)</a:t>
            </a:r>
            <a:endParaRPr lang="en-GB" sz="2400" b="1" dirty="0">
              <a:latin typeface="Tahoma" pitchFamily="34" charset="0"/>
            </a:endParaRPr>
          </a:p>
        </p:txBody>
      </p:sp>
      <p:sp>
        <p:nvSpPr>
          <p:cNvPr id="297990" name="Text Box 6"/>
          <p:cNvSpPr txBox="1">
            <a:spLocks noChangeArrowheads="1"/>
          </p:cNvSpPr>
          <p:nvPr/>
        </p:nvSpPr>
        <p:spPr bwMode="auto">
          <a:xfrm>
            <a:off x="6113016" y="3320947"/>
            <a:ext cx="2743200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508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IE" sz="2400" b="1" dirty="0" smtClean="0">
                <a:latin typeface="Tahoma" pitchFamily="34" charset="0"/>
              </a:rPr>
              <a:t>Batch/lot </a:t>
            </a:r>
            <a:r>
              <a:rPr lang="en-IE" sz="2400" b="1" dirty="0">
                <a:latin typeface="Tahoma" pitchFamily="34" charset="0"/>
              </a:rPr>
              <a:t>Number</a:t>
            </a:r>
            <a:endParaRPr lang="en-GB" sz="2400" b="1" dirty="0">
              <a:latin typeface="Tahoma" pitchFamily="34" charset="0"/>
            </a:endParaRPr>
          </a:p>
        </p:txBody>
      </p:sp>
      <p:sp>
        <p:nvSpPr>
          <p:cNvPr id="297991" name="Text Box 7"/>
          <p:cNvSpPr txBox="1">
            <a:spLocks noChangeArrowheads="1"/>
          </p:cNvSpPr>
          <p:nvPr/>
        </p:nvSpPr>
        <p:spPr bwMode="auto">
          <a:xfrm>
            <a:off x="6019800" y="2590800"/>
            <a:ext cx="27432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508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IE" sz="2400" b="1" dirty="0">
                <a:latin typeface="Tahoma" pitchFamily="34" charset="0"/>
              </a:rPr>
              <a:t>Expiry Date</a:t>
            </a:r>
            <a:endParaRPr lang="en-GB" sz="2400" b="1" dirty="0">
              <a:latin typeface="Tahoma" pitchFamily="34" charset="0"/>
            </a:endParaRPr>
          </a:p>
        </p:txBody>
      </p:sp>
      <p:sp>
        <p:nvSpPr>
          <p:cNvPr id="297992" name="Text Box 8"/>
          <p:cNvSpPr txBox="1">
            <a:spLocks noChangeArrowheads="1"/>
          </p:cNvSpPr>
          <p:nvPr/>
        </p:nvSpPr>
        <p:spPr bwMode="auto">
          <a:xfrm>
            <a:off x="6019800" y="4343400"/>
            <a:ext cx="27432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508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IE" sz="2400" b="1" dirty="0">
                <a:latin typeface="Tahoma" pitchFamily="34" charset="0"/>
              </a:rPr>
              <a:t>Serial Number</a:t>
            </a:r>
            <a:endParaRPr lang="en-GB" sz="2400" b="1" dirty="0">
              <a:latin typeface="Tahoma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432835" y="2768772"/>
            <a:ext cx="2218099" cy="100493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/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2400" y="-8971"/>
            <a:ext cx="1346447" cy="12514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74113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9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979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979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4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9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979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979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9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979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979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9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979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979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9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979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979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500"/>
                            </p:stCondLst>
                            <p:childTnLst>
                              <p:par>
                                <p:cTn id="38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9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979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2979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4531 0.08674 L 0.49461 -0.40505 " pathEditMode="relative" rAng="0" ptsTypes="AA">
                                      <p:cBhvr>
                                        <p:cTn id="45" dur="2000" fill="hold"/>
                                        <p:tgtEl>
                                          <p:spTgt spid="20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465" y="-2458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6.50012E-7 L 0.5059 -0.31691 " pathEditMode="relative" rAng="0" ptsTypes="AA">
                                      <p:cBhvr>
                                        <p:cTn id="49" dur="2000" fill="hold"/>
                                        <p:tgtEl>
                                          <p:spTgt spid="20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5295" y="-1584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-1.17974E-7 L 0.5184 -0.20842 " pathEditMode="relative" rAng="0" ptsTypes="AA">
                                      <p:cBhvr>
                                        <p:cTn id="53" dur="2000" fill="hold"/>
                                        <p:tgtEl>
                                          <p:spTgt spid="20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5920" y="-1043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38889E-6 -1.63544E-6 L 0.50434 -0.12376 " pathEditMode="relative" rAng="0" ptsTypes="AA">
                                      <p:cBhvr>
                                        <p:cTn id="57" dur="2000" fill="hold"/>
                                        <p:tgtEl>
                                          <p:spTgt spid="20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5208" y="-619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7986" grpId="0" autoUpdateAnimBg="0"/>
      <p:bldP spid="297988" grpId="0" animBg="1" autoUpdateAnimBg="0"/>
      <p:bldP spid="297989" grpId="0" autoUpdateAnimBg="0"/>
      <p:bldP spid="297990" grpId="0" autoUpdateAnimBg="0"/>
      <p:bldP spid="297991" grpId="0" autoUpdateAnimBg="0"/>
      <p:bldP spid="297992" grpId="0" autoUpdateAnimBg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IE" b="1" dirty="0" smtClean="0">
                <a:solidFill>
                  <a:srgbClr val="0C2992"/>
                </a:solidFill>
              </a:rPr>
              <a:t>Capture</a:t>
            </a:r>
            <a:endParaRPr lang="en-GB" b="1" dirty="0" smtClean="0">
              <a:solidFill>
                <a:srgbClr val="0C2992"/>
              </a:solidFill>
            </a:endParaRPr>
          </a:p>
        </p:txBody>
      </p:sp>
      <p:sp>
        <p:nvSpPr>
          <p:cNvPr id="301060" name="Line 4"/>
          <p:cNvSpPr>
            <a:spLocks noChangeShapeType="1"/>
          </p:cNvSpPr>
          <p:nvPr/>
        </p:nvSpPr>
        <p:spPr bwMode="auto">
          <a:xfrm rot="-9967421" flipH="1" flipV="1">
            <a:off x="4475163" y="2597150"/>
            <a:ext cx="1635125" cy="196215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E" dirty="0"/>
          </a:p>
        </p:txBody>
      </p:sp>
      <p:sp>
        <p:nvSpPr>
          <p:cNvPr id="301061" name="Line 5"/>
          <p:cNvSpPr>
            <a:spLocks noChangeShapeType="1"/>
          </p:cNvSpPr>
          <p:nvPr/>
        </p:nvSpPr>
        <p:spPr bwMode="auto">
          <a:xfrm rot="11632579" flipV="1">
            <a:off x="3719513" y="2427288"/>
            <a:ext cx="347662" cy="2339975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E" dirty="0"/>
          </a:p>
        </p:txBody>
      </p:sp>
      <p:pic>
        <p:nvPicPr>
          <p:cNvPr id="36870" name="Picture 6" descr="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18125" y="4767263"/>
            <a:ext cx="1162050" cy="950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71" name="Picture 9" descr="aqDSCN593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73375" y="4824413"/>
            <a:ext cx="1203325" cy="903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1064" name="Picture 8" descr="TOT026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6300" y="4824413"/>
            <a:ext cx="1122363" cy="950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1065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59625" y="4911725"/>
            <a:ext cx="1249363" cy="81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4306" y="44625"/>
            <a:ext cx="1334058" cy="12448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433085" y="1482897"/>
            <a:ext cx="2218099" cy="100493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963617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10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010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10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3010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10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7" dur="500"/>
                                        <p:tgtEl>
                                          <p:spTgt spid="3010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10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2" dur="500"/>
                                        <p:tgtEl>
                                          <p:spTgt spid="3010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1060" grpId="0" animBg="1"/>
      <p:bldP spid="301061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Picture 7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54163" y="1246188"/>
            <a:ext cx="6034087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91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IE" b="1" smtClean="0">
                <a:solidFill>
                  <a:srgbClr val="0C2992"/>
                </a:solidFill>
              </a:rPr>
              <a:t>Share</a:t>
            </a:r>
            <a:endParaRPr lang="en-GB" b="1" smtClean="0">
              <a:solidFill>
                <a:srgbClr val="0C2992"/>
              </a:solidFill>
            </a:endParaRPr>
          </a:p>
        </p:txBody>
      </p:sp>
      <p:pic>
        <p:nvPicPr>
          <p:cNvPr id="302084" name="Picture 4" descr="Sample repor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54163" y="1246188"/>
            <a:ext cx="6034087" cy="454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37079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20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020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4200" name="Picture 8" descr="Apple Android phon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6350" y="1468438"/>
            <a:ext cx="6850063" cy="472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059" name="Title 1"/>
          <p:cNvSpPr>
            <a:spLocks noGrp="1"/>
          </p:cNvSpPr>
          <p:nvPr>
            <p:ph type="ctrTitle" idx="4294967295"/>
          </p:nvPr>
        </p:nvSpPr>
        <p:spPr>
          <a:xfrm>
            <a:off x="-396875" y="274638"/>
            <a:ext cx="9263063" cy="1071562"/>
          </a:xfrm>
        </p:spPr>
        <p:txBody>
          <a:bodyPr/>
          <a:lstStyle/>
          <a:p>
            <a:pPr eaLnBrk="1" hangingPunct="1"/>
            <a:r>
              <a:rPr lang="en-GB" dirty="0" smtClean="0"/>
              <a:t>	</a:t>
            </a:r>
            <a:r>
              <a:rPr lang="en-GB" b="1" dirty="0" smtClean="0">
                <a:solidFill>
                  <a:srgbClr val="091D67"/>
                </a:solidFill>
              </a:rPr>
              <a:t>Smartphones with scanning App</a:t>
            </a:r>
          </a:p>
        </p:txBody>
      </p:sp>
      <p:sp>
        <p:nvSpPr>
          <p:cNvPr id="264197" name="Oval 5"/>
          <p:cNvSpPr>
            <a:spLocks noChangeArrowheads="1"/>
          </p:cNvSpPr>
          <p:nvPr/>
        </p:nvSpPr>
        <p:spPr bwMode="auto">
          <a:xfrm>
            <a:off x="2862263" y="2820988"/>
            <a:ext cx="665162" cy="638175"/>
          </a:xfrm>
          <a:prstGeom prst="ellipse">
            <a:avLst/>
          </a:prstGeom>
          <a:noFill/>
          <a:ln w="571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071915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64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2641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2641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4197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600" y="633413"/>
            <a:ext cx="7669213" cy="5595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13152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4149080"/>
            <a:ext cx="3341687" cy="2090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7106" name="Title 1"/>
          <p:cNvSpPr>
            <a:spLocks noGrp="1"/>
          </p:cNvSpPr>
          <p:nvPr>
            <p:ph type="ctrTitle" idx="4294967295"/>
          </p:nvPr>
        </p:nvSpPr>
        <p:spPr>
          <a:xfrm>
            <a:off x="214313" y="114300"/>
            <a:ext cx="7772400" cy="1214438"/>
          </a:xfrm>
        </p:spPr>
        <p:txBody>
          <a:bodyPr/>
          <a:lstStyle/>
          <a:p>
            <a:pPr eaLnBrk="1" hangingPunct="1"/>
            <a:r>
              <a:rPr lang="en-GB" sz="5600" b="1" dirty="0" smtClean="0">
                <a:solidFill>
                  <a:srgbClr val="091D67"/>
                </a:solidFill>
              </a:rPr>
              <a:t>Log-in</a:t>
            </a:r>
          </a:p>
        </p:txBody>
      </p:sp>
      <p:sp>
        <p:nvSpPr>
          <p:cNvPr id="47107" name="Subtitle 2"/>
          <p:cNvSpPr>
            <a:spLocks noGrp="1"/>
          </p:cNvSpPr>
          <p:nvPr>
            <p:ph type="subTitle" idx="4294967295"/>
          </p:nvPr>
        </p:nvSpPr>
        <p:spPr>
          <a:xfrm>
            <a:off x="214313" y="1357313"/>
            <a:ext cx="5929312" cy="4786312"/>
          </a:xfrm>
        </p:spPr>
        <p:txBody>
          <a:bodyPr/>
          <a:lstStyle/>
          <a:p>
            <a:pPr marL="0" indent="0" eaLnBrk="1" hangingPunct="1">
              <a:buFontTx/>
              <a:buNone/>
            </a:pPr>
            <a:r>
              <a:rPr lang="en-GB" dirty="0" smtClean="0">
                <a:solidFill>
                  <a:srgbClr val="404040"/>
                </a:solidFill>
              </a:rPr>
              <a:t>Secure Login by</a:t>
            </a:r>
          </a:p>
          <a:p>
            <a:pPr marL="0" indent="0" eaLnBrk="1" hangingPunct="1"/>
            <a:r>
              <a:rPr lang="en-GB" dirty="0" smtClean="0">
                <a:solidFill>
                  <a:srgbClr val="404040"/>
                </a:solidFill>
              </a:rPr>
              <a:t> </a:t>
            </a:r>
            <a:r>
              <a:rPr lang="en-GB" sz="2800" dirty="0" smtClean="0">
                <a:solidFill>
                  <a:srgbClr val="404040"/>
                </a:solidFill>
              </a:rPr>
              <a:t>Username/Password</a:t>
            </a:r>
          </a:p>
          <a:p>
            <a:pPr marL="0" indent="0" eaLnBrk="1" hangingPunct="1">
              <a:buFontTx/>
              <a:buNone/>
            </a:pPr>
            <a:r>
              <a:rPr lang="en-IE" dirty="0" smtClean="0">
                <a:solidFill>
                  <a:srgbClr val="404040"/>
                </a:solidFill>
              </a:rPr>
              <a:t>                or</a:t>
            </a:r>
            <a:endParaRPr lang="en-GB" dirty="0" smtClean="0">
              <a:solidFill>
                <a:srgbClr val="404040"/>
              </a:solidFill>
            </a:endParaRPr>
          </a:p>
          <a:p>
            <a:pPr marL="0" indent="0" eaLnBrk="1" hangingPunct="1"/>
            <a:r>
              <a:rPr lang="en-GB" sz="2800" dirty="0" smtClean="0">
                <a:solidFill>
                  <a:srgbClr val="404040"/>
                </a:solidFill>
              </a:rPr>
              <a:t>Scanning unique GS1 ID  on Card </a:t>
            </a:r>
          </a:p>
        </p:txBody>
      </p:sp>
      <p:pic>
        <p:nvPicPr>
          <p:cNvPr id="47110" name="Picture 1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68988" y="527050"/>
            <a:ext cx="2803525" cy="5381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8296" name="Oval 8"/>
          <p:cNvSpPr>
            <a:spLocks noChangeArrowheads="1"/>
          </p:cNvSpPr>
          <p:nvPr/>
        </p:nvSpPr>
        <p:spPr bwMode="auto">
          <a:xfrm>
            <a:off x="3365649" y="5567194"/>
            <a:ext cx="1079500" cy="914400"/>
          </a:xfrm>
          <a:prstGeom prst="ellipse">
            <a:avLst/>
          </a:prstGeom>
          <a:noFill/>
          <a:ln w="571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19852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682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682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8296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Title 1"/>
          <p:cNvSpPr>
            <a:spLocks noGrp="1"/>
          </p:cNvSpPr>
          <p:nvPr>
            <p:ph type="ctrTitle" idx="4294967295"/>
          </p:nvPr>
        </p:nvSpPr>
        <p:spPr>
          <a:xfrm>
            <a:off x="292100" y="9525"/>
            <a:ext cx="7772400" cy="1214438"/>
          </a:xfrm>
        </p:spPr>
        <p:txBody>
          <a:bodyPr/>
          <a:lstStyle/>
          <a:p>
            <a:pPr eaLnBrk="1" hangingPunct="1"/>
            <a:r>
              <a:rPr lang="en-GB" b="1" dirty="0" smtClean="0">
                <a:solidFill>
                  <a:srgbClr val="091D67"/>
                </a:solidFill>
              </a:rPr>
              <a:t>Scan Product</a:t>
            </a:r>
          </a:p>
        </p:txBody>
      </p:sp>
      <p:sp>
        <p:nvSpPr>
          <p:cNvPr id="49155" name="Subtitle 2"/>
          <p:cNvSpPr>
            <a:spLocks noGrp="1"/>
          </p:cNvSpPr>
          <p:nvPr>
            <p:ph type="subTitle" idx="4294967295"/>
          </p:nvPr>
        </p:nvSpPr>
        <p:spPr>
          <a:xfrm>
            <a:off x="250825" y="981075"/>
            <a:ext cx="5899150" cy="2792413"/>
          </a:xfrm>
        </p:spPr>
        <p:txBody>
          <a:bodyPr/>
          <a:lstStyle/>
          <a:p>
            <a:pPr marL="0" indent="0" eaLnBrk="1" hangingPunct="1">
              <a:lnSpc>
                <a:spcPct val="90000"/>
              </a:lnSpc>
              <a:buFontTx/>
              <a:buNone/>
            </a:pPr>
            <a:r>
              <a:rPr lang="en-GB" dirty="0" smtClean="0">
                <a:solidFill>
                  <a:srgbClr val="404040"/>
                </a:solidFill>
              </a:rPr>
              <a:t>Barcode on Vial box is scanned to check </a:t>
            </a:r>
          </a:p>
          <a:p>
            <a:pPr marL="0" indent="0" eaLnBrk="1" hangingPunct="1">
              <a:lnSpc>
                <a:spcPct val="90000"/>
              </a:lnSpc>
            </a:pPr>
            <a:r>
              <a:rPr lang="en-GB" dirty="0" smtClean="0">
                <a:solidFill>
                  <a:srgbClr val="404040"/>
                </a:solidFill>
              </a:rPr>
              <a:t>product detail (prescription)</a:t>
            </a:r>
          </a:p>
          <a:p>
            <a:pPr marL="0" indent="0" eaLnBrk="1" hangingPunct="1">
              <a:lnSpc>
                <a:spcPct val="90000"/>
              </a:lnSpc>
            </a:pPr>
            <a:r>
              <a:rPr lang="en-GB" dirty="0" smtClean="0">
                <a:solidFill>
                  <a:srgbClr val="404040"/>
                </a:solidFill>
              </a:rPr>
              <a:t>expiry date</a:t>
            </a:r>
          </a:p>
          <a:p>
            <a:pPr marL="0" indent="0" eaLnBrk="1" hangingPunct="1">
              <a:lnSpc>
                <a:spcPct val="90000"/>
              </a:lnSpc>
            </a:pPr>
            <a:r>
              <a:rPr lang="en-IE" dirty="0" smtClean="0">
                <a:solidFill>
                  <a:srgbClr val="404040"/>
                </a:solidFill>
              </a:rPr>
              <a:t>Recall status</a:t>
            </a:r>
            <a:endParaRPr lang="en-GB" dirty="0" smtClean="0">
              <a:solidFill>
                <a:srgbClr val="404040"/>
              </a:solidFill>
            </a:endParaRPr>
          </a:p>
        </p:txBody>
      </p:sp>
      <p:pic>
        <p:nvPicPr>
          <p:cNvPr id="4915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9488" y="4148138"/>
            <a:ext cx="3124200" cy="227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15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9488" y="4148138"/>
            <a:ext cx="3198812" cy="2381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72391" name="Oval 7"/>
          <p:cNvSpPr>
            <a:spLocks noChangeArrowheads="1"/>
          </p:cNvSpPr>
          <p:nvPr/>
        </p:nvSpPr>
        <p:spPr bwMode="auto">
          <a:xfrm>
            <a:off x="2595563" y="4738688"/>
            <a:ext cx="1079500" cy="914400"/>
          </a:xfrm>
          <a:prstGeom prst="ellipse">
            <a:avLst/>
          </a:prstGeom>
          <a:noFill/>
          <a:ln w="57150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E" dirty="0"/>
          </a:p>
        </p:txBody>
      </p:sp>
      <p:pic>
        <p:nvPicPr>
          <p:cNvPr id="49159" name="Picture 9" descr="E Scanning App Scan scree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96025" y="642938"/>
            <a:ext cx="2701925" cy="5138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1333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2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723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723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2391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itle 1"/>
          <p:cNvSpPr>
            <a:spLocks noGrp="1"/>
          </p:cNvSpPr>
          <p:nvPr>
            <p:ph type="ctrTitle" idx="4294967295"/>
          </p:nvPr>
        </p:nvSpPr>
        <p:spPr>
          <a:xfrm>
            <a:off x="-342900" y="-28575"/>
            <a:ext cx="7772400" cy="1214438"/>
          </a:xfrm>
        </p:spPr>
        <p:txBody>
          <a:bodyPr/>
          <a:lstStyle/>
          <a:p>
            <a:pPr eaLnBrk="1" hangingPunct="1"/>
            <a:r>
              <a:rPr lang="en-GB" b="1" dirty="0" smtClean="0">
                <a:solidFill>
                  <a:srgbClr val="091D67"/>
                </a:solidFill>
              </a:rPr>
              <a:t>Process Complete</a:t>
            </a:r>
          </a:p>
        </p:txBody>
      </p:sp>
      <p:sp>
        <p:nvSpPr>
          <p:cNvPr id="54275" name="Subtitle 2"/>
          <p:cNvSpPr>
            <a:spLocks noGrp="1"/>
          </p:cNvSpPr>
          <p:nvPr>
            <p:ph type="subTitle" idx="4294967295"/>
          </p:nvPr>
        </p:nvSpPr>
        <p:spPr>
          <a:xfrm>
            <a:off x="214313" y="1357313"/>
            <a:ext cx="5929312" cy="4786312"/>
          </a:xfrm>
        </p:spPr>
        <p:txBody>
          <a:bodyPr/>
          <a:lstStyle/>
          <a:p>
            <a:pPr marL="0" indent="0" eaLnBrk="1" hangingPunct="1">
              <a:buFontTx/>
              <a:buNone/>
            </a:pPr>
            <a:r>
              <a:rPr lang="en-GB" dirty="0" smtClean="0">
                <a:solidFill>
                  <a:srgbClr val="404040"/>
                </a:solidFill>
              </a:rPr>
              <a:t>Process concludes, system synchronises data wirelessly to </a:t>
            </a:r>
            <a:r>
              <a:rPr lang="en-GB" b="1" dirty="0" smtClean="0">
                <a:solidFill>
                  <a:srgbClr val="091D67"/>
                </a:solidFill>
              </a:rPr>
              <a:t>web application</a:t>
            </a:r>
          </a:p>
        </p:txBody>
      </p:sp>
      <p:pic>
        <p:nvPicPr>
          <p:cNvPr id="54276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69000" y="912813"/>
            <a:ext cx="2692400" cy="5230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41991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6788" y="1417638"/>
            <a:ext cx="6926262" cy="5016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529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IE" b="1" dirty="0" smtClean="0">
                <a:solidFill>
                  <a:srgbClr val="091D67"/>
                </a:solidFill>
              </a:rPr>
              <a:t>Share</a:t>
            </a:r>
            <a:endParaRPr lang="en-GB" b="1" dirty="0" smtClean="0">
              <a:solidFill>
                <a:srgbClr val="091D67"/>
              </a:solidFill>
            </a:endParaRPr>
          </a:p>
        </p:txBody>
      </p:sp>
      <p:pic>
        <p:nvPicPr>
          <p:cNvPr id="309254" name="Picture 6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6788" y="1417638"/>
            <a:ext cx="6926262" cy="519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3050" y="116632"/>
            <a:ext cx="1049337" cy="141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5007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092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IE" b="1" dirty="0" smtClean="0">
                <a:solidFill>
                  <a:srgbClr val="091D67"/>
                </a:solidFill>
              </a:rPr>
              <a:t>Share</a:t>
            </a:r>
            <a:endParaRPr lang="en-GB" b="1" dirty="0" smtClean="0">
              <a:solidFill>
                <a:srgbClr val="091D67"/>
              </a:solidFill>
            </a:endParaRPr>
          </a:p>
        </p:txBody>
      </p:sp>
      <p:pic>
        <p:nvPicPr>
          <p:cNvPr id="57347" name="Picture 3"/>
          <p:cNvPicPr>
            <a:picLocks noGrp="1" noChangeAspect="1" noChangeArrowheads="1"/>
          </p:cNvPicPr>
          <p:nvPr>
            <p:ph type="body"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57200" y="1303338"/>
            <a:ext cx="8229600" cy="5303837"/>
          </a:xfrm>
          <a:noFill/>
        </p:spPr>
      </p:pic>
    </p:spTree>
    <p:extLst>
      <p:ext uri="{BB962C8B-B14F-4D97-AF65-F5344CB8AC3E}">
        <p14:creationId xmlns:p14="http://schemas.microsoft.com/office/powerpoint/2010/main" val="27294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E"/>
          </a:p>
        </p:txBody>
      </p:sp>
      <p:pic>
        <p:nvPicPr>
          <p:cNvPr id="4" name="FUNNY_SOS_MAYDAY_SINKING_AVI.avi">
            <a:hlinkClick r:id="" action="ppaction://media"/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79512" y="260648"/>
            <a:ext cx="8404176" cy="6303685"/>
          </a:xfrm>
        </p:spPr>
      </p:pic>
    </p:spTree>
    <p:extLst>
      <p:ext uri="{BB962C8B-B14F-4D97-AF65-F5344CB8AC3E}">
        <p14:creationId xmlns:p14="http://schemas.microsoft.com/office/powerpoint/2010/main" val="33782755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 Box 2"/>
          <p:cNvSpPr txBox="1">
            <a:spLocks noChangeArrowheads="1"/>
          </p:cNvSpPr>
          <p:nvPr/>
        </p:nvSpPr>
        <p:spPr bwMode="auto">
          <a:xfrm>
            <a:off x="1" y="267841"/>
            <a:ext cx="91440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en-US" altLang="ko-KR" sz="4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en-US" altLang="ko-KR" sz="4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H</a:t>
            </a:r>
            <a:r>
              <a:rPr lang="en-US" altLang="ko-KR" sz="4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aemophilia Project Timeline</a:t>
            </a:r>
            <a:endParaRPr lang="en-US" altLang="ko-KR" sz="3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Oval 80"/>
          <p:cNvSpPr>
            <a:spLocks noChangeArrowheads="1"/>
          </p:cNvSpPr>
          <p:nvPr/>
        </p:nvSpPr>
        <p:spPr bwMode="auto">
          <a:xfrm>
            <a:off x="209659" y="4115027"/>
            <a:ext cx="1513305" cy="619118"/>
          </a:xfrm>
          <a:prstGeom prst="ellipse">
            <a:avLst/>
          </a:prstGeom>
          <a:gradFill rotWithShape="1">
            <a:gsLst>
              <a:gs pos="0">
                <a:schemeClr val="tx1">
                  <a:alpha val="53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</a:gradFill>
          <a:ln w="9525" algn="ctr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ko-KR" alt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Oval 80"/>
          <p:cNvSpPr>
            <a:spLocks noChangeArrowheads="1"/>
          </p:cNvSpPr>
          <p:nvPr/>
        </p:nvSpPr>
        <p:spPr bwMode="auto">
          <a:xfrm>
            <a:off x="1586812" y="4115027"/>
            <a:ext cx="1513305" cy="619118"/>
          </a:xfrm>
          <a:prstGeom prst="ellipse">
            <a:avLst/>
          </a:prstGeom>
          <a:gradFill rotWithShape="1">
            <a:gsLst>
              <a:gs pos="0">
                <a:schemeClr val="tx1">
                  <a:alpha val="53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</a:gradFill>
          <a:ln w="9525" algn="ctr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ko-KR" alt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Oval 80"/>
          <p:cNvSpPr>
            <a:spLocks noChangeArrowheads="1"/>
          </p:cNvSpPr>
          <p:nvPr/>
        </p:nvSpPr>
        <p:spPr bwMode="auto">
          <a:xfrm>
            <a:off x="3088842" y="4086073"/>
            <a:ext cx="1513305" cy="619118"/>
          </a:xfrm>
          <a:prstGeom prst="ellipse">
            <a:avLst/>
          </a:prstGeom>
          <a:gradFill rotWithShape="1">
            <a:gsLst>
              <a:gs pos="0">
                <a:schemeClr val="tx1">
                  <a:alpha val="53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</a:gradFill>
          <a:ln w="9525" algn="ctr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ko-KR" alt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Oval 80"/>
          <p:cNvSpPr>
            <a:spLocks noChangeArrowheads="1"/>
          </p:cNvSpPr>
          <p:nvPr/>
        </p:nvSpPr>
        <p:spPr bwMode="auto">
          <a:xfrm>
            <a:off x="4485134" y="4079024"/>
            <a:ext cx="1513305" cy="619118"/>
          </a:xfrm>
          <a:prstGeom prst="ellipse">
            <a:avLst/>
          </a:prstGeom>
          <a:gradFill rotWithShape="1">
            <a:gsLst>
              <a:gs pos="0">
                <a:schemeClr val="tx1">
                  <a:alpha val="53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</a:gradFill>
          <a:ln w="9525" algn="ctr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ko-KR" alt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Oval 80"/>
          <p:cNvSpPr>
            <a:spLocks noChangeArrowheads="1"/>
          </p:cNvSpPr>
          <p:nvPr/>
        </p:nvSpPr>
        <p:spPr bwMode="auto">
          <a:xfrm>
            <a:off x="5862287" y="4079024"/>
            <a:ext cx="1513305" cy="619118"/>
          </a:xfrm>
          <a:prstGeom prst="ellipse">
            <a:avLst/>
          </a:prstGeom>
          <a:gradFill rotWithShape="1">
            <a:gsLst>
              <a:gs pos="0">
                <a:schemeClr val="tx1">
                  <a:alpha val="53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</a:gradFill>
          <a:ln w="9525" algn="ctr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ko-KR" alt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Oval 80"/>
          <p:cNvSpPr>
            <a:spLocks noChangeArrowheads="1"/>
          </p:cNvSpPr>
          <p:nvPr/>
        </p:nvSpPr>
        <p:spPr bwMode="auto">
          <a:xfrm>
            <a:off x="7379175" y="4079024"/>
            <a:ext cx="1513305" cy="619118"/>
          </a:xfrm>
          <a:prstGeom prst="ellipse">
            <a:avLst/>
          </a:prstGeom>
          <a:gradFill rotWithShape="1">
            <a:gsLst>
              <a:gs pos="0">
                <a:schemeClr val="tx1">
                  <a:alpha val="53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</a:gradFill>
          <a:ln w="9525" algn="ctr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ko-KR" alt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62" name="Oval 26"/>
          <p:cNvSpPr>
            <a:spLocks noChangeAspect="1" noChangeArrowheads="1"/>
          </p:cNvSpPr>
          <p:nvPr/>
        </p:nvSpPr>
        <p:spPr bwMode="auto">
          <a:xfrm rot="18900000">
            <a:off x="7568713" y="3470540"/>
            <a:ext cx="731006" cy="392006"/>
          </a:xfrm>
          <a:prstGeom prst="ellipse">
            <a:avLst/>
          </a:prstGeom>
          <a:gradFill rotWithShape="1">
            <a:gsLst>
              <a:gs pos="0">
                <a:schemeClr val="bg1">
                  <a:alpha val="33000"/>
                </a:schemeClr>
              </a:gs>
              <a:gs pos="100000">
                <a:schemeClr val="bg1">
                  <a:gamma/>
                  <a:shade val="46275"/>
                  <a:invGamma/>
                  <a:alpha val="0"/>
                </a:schemeClr>
              </a:gs>
            </a:gsLst>
            <a:lin ang="5400000" scaled="1"/>
          </a:gradFill>
          <a:ln w="381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65" name="자유형 86"/>
          <p:cNvSpPr/>
          <p:nvPr/>
        </p:nvSpPr>
        <p:spPr>
          <a:xfrm rot="5839189">
            <a:off x="7529838" y="3693184"/>
            <a:ext cx="742310" cy="558763"/>
          </a:xfrm>
          <a:custGeom>
            <a:avLst/>
            <a:gdLst>
              <a:gd name="connsiteX0" fmla="*/ 0 w 2171700"/>
              <a:gd name="connsiteY0" fmla="*/ 1038225 h 1914525"/>
              <a:gd name="connsiteX1" fmla="*/ 390525 w 2171700"/>
              <a:gd name="connsiteY1" fmla="*/ 1571625 h 1914525"/>
              <a:gd name="connsiteX2" fmla="*/ 819150 w 2171700"/>
              <a:gd name="connsiteY2" fmla="*/ 1914525 h 1914525"/>
              <a:gd name="connsiteX3" fmla="*/ 1409700 w 2171700"/>
              <a:gd name="connsiteY3" fmla="*/ 1771650 h 1914525"/>
              <a:gd name="connsiteX4" fmla="*/ 1876425 w 2171700"/>
              <a:gd name="connsiteY4" fmla="*/ 1371600 h 1914525"/>
              <a:gd name="connsiteX5" fmla="*/ 2171700 w 2171700"/>
              <a:gd name="connsiteY5" fmla="*/ 752475 h 1914525"/>
              <a:gd name="connsiteX6" fmla="*/ 2105025 w 2171700"/>
              <a:gd name="connsiteY6" fmla="*/ 0 h 1914525"/>
              <a:gd name="connsiteX7" fmla="*/ 1990725 w 2171700"/>
              <a:gd name="connsiteY7" fmla="*/ 209550 h 1914525"/>
              <a:gd name="connsiteX8" fmla="*/ 1733550 w 2171700"/>
              <a:gd name="connsiteY8" fmla="*/ 514350 h 1914525"/>
              <a:gd name="connsiteX9" fmla="*/ 1428750 w 2171700"/>
              <a:gd name="connsiteY9" fmla="*/ 533400 h 1914525"/>
              <a:gd name="connsiteX10" fmla="*/ 790575 w 2171700"/>
              <a:gd name="connsiteY10" fmla="*/ 942975 h 1914525"/>
              <a:gd name="connsiteX11" fmla="*/ 209550 w 2171700"/>
              <a:gd name="connsiteY11" fmla="*/ 1047750 h 1914525"/>
              <a:gd name="connsiteX12" fmla="*/ 0 w 2171700"/>
              <a:gd name="connsiteY12" fmla="*/ 1038225 h 1914525"/>
              <a:gd name="connsiteX0" fmla="*/ 30162 w 2201862"/>
              <a:gd name="connsiteY0" fmla="*/ 1038225 h 1914525"/>
              <a:gd name="connsiteX1" fmla="*/ 420687 w 2201862"/>
              <a:gd name="connsiteY1" fmla="*/ 1571625 h 1914525"/>
              <a:gd name="connsiteX2" fmla="*/ 849312 w 2201862"/>
              <a:gd name="connsiteY2" fmla="*/ 1914525 h 1914525"/>
              <a:gd name="connsiteX3" fmla="*/ 1439862 w 2201862"/>
              <a:gd name="connsiteY3" fmla="*/ 1771650 h 1914525"/>
              <a:gd name="connsiteX4" fmla="*/ 1906587 w 2201862"/>
              <a:gd name="connsiteY4" fmla="*/ 1371600 h 1914525"/>
              <a:gd name="connsiteX5" fmla="*/ 2201862 w 2201862"/>
              <a:gd name="connsiteY5" fmla="*/ 752475 h 1914525"/>
              <a:gd name="connsiteX6" fmla="*/ 2135187 w 2201862"/>
              <a:gd name="connsiteY6" fmla="*/ 0 h 1914525"/>
              <a:gd name="connsiteX7" fmla="*/ 2020887 w 2201862"/>
              <a:gd name="connsiteY7" fmla="*/ 209550 h 1914525"/>
              <a:gd name="connsiteX8" fmla="*/ 1763712 w 2201862"/>
              <a:gd name="connsiteY8" fmla="*/ 514350 h 1914525"/>
              <a:gd name="connsiteX9" fmla="*/ 1458912 w 2201862"/>
              <a:gd name="connsiteY9" fmla="*/ 533400 h 1914525"/>
              <a:gd name="connsiteX10" fmla="*/ 820737 w 2201862"/>
              <a:gd name="connsiteY10" fmla="*/ 942975 h 1914525"/>
              <a:gd name="connsiteX11" fmla="*/ 239712 w 2201862"/>
              <a:gd name="connsiteY11" fmla="*/ 1047750 h 1914525"/>
              <a:gd name="connsiteX12" fmla="*/ 30162 w 2201862"/>
              <a:gd name="connsiteY12" fmla="*/ 1038225 h 1914525"/>
              <a:gd name="connsiteX0" fmla="*/ 30162 w 2201862"/>
              <a:gd name="connsiteY0" fmla="*/ 1038225 h 1914525"/>
              <a:gd name="connsiteX1" fmla="*/ 420687 w 2201862"/>
              <a:gd name="connsiteY1" fmla="*/ 1571625 h 1914525"/>
              <a:gd name="connsiteX2" fmla="*/ 849312 w 2201862"/>
              <a:gd name="connsiteY2" fmla="*/ 1914525 h 1914525"/>
              <a:gd name="connsiteX3" fmla="*/ 1439862 w 2201862"/>
              <a:gd name="connsiteY3" fmla="*/ 1771650 h 1914525"/>
              <a:gd name="connsiteX4" fmla="*/ 1906587 w 2201862"/>
              <a:gd name="connsiteY4" fmla="*/ 1371600 h 1914525"/>
              <a:gd name="connsiteX5" fmla="*/ 2201862 w 2201862"/>
              <a:gd name="connsiteY5" fmla="*/ 752475 h 1914525"/>
              <a:gd name="connsiteX6" fmla="*/ 2135187 w 2201862"/>
              <a:gd name="connsiteY6" fmla="*/ 0 h 1914525"/>
              <a:gd name="connsiteX7" fmla="*/ 2020887 w 2201862"/>
              <a:gd name="connsiteY7" fmla="*/ 209550 h 1914525"/>
              <a:gd name="connsiteX8" fmla="*/ 1763712 w 2201862"/>
              <a:gd name="connsiteY8" fmla="*/ 514350 h 1914525"/>
              <a:gd name="connsiteX9" fmla="*/ 1458912 w 2201862"/>
              <a:gd name="connsiteY9" fmla="*/ 533400 h 1914525"/>
              <a:gd name="connsiteX10" fmla="*/ 820737 w 2201862"/>
              <a:gd name="connsiteY10" fmla="*/ 942975 h 1914525"/>
              <a:gd name="connsiteX11" fmla="*/ 239712 w 2201862"/>
              <a:gd name="connsiteY11" fmla="*/ 1047750 h 1914525"/>
              <a:gd name="connsiteX12" fmla="*/ 30162 w 2201862"/>
              <a:gd name="connsiteY12" fmla="*/ 1038225 h 1914525"/>
              <a:gd name="connsiteX0" fmla="*/ 30162 w 2201862"/>
              <a:gd name="connsiteY0" fmla="*/ 1038225 h 1914525"/>
              <a:gd name="connsiteX1" fmla="*/ 420687 w 2201862"/>
              <a:gd name="connsiteY1" fmla="*/ 1571625 h 1914525"/>
              <a:gd name="connsiteX2" fmla="*/ 849312 w 2201862"/>
              <a:gd name="connsiteY2" fmla="*/ 1914525 h 1914525"/>
              <a:gd name="connsiteX3" fmla="*/ 1439862 w 2201862"/>
              <a:gd name="connsiteY3" fmla="*/ 1771650 h 1914525"/>
              <a:gd name="connsiteX4" fmla="*/ 1906587 w 2201862"/>
              <a:gd name="connsiteY4" fmla="*/ 1371600 h 1914525"/>
              <a:gd name="connsiteX5" fmla="*/ 2201862 w 2201862"/>
              <a:gd name="connsiteY5" fmla="*/ 752475 h 1914525"/>
              <a:gd name="connsiteX6" fmla="*/ 2135187 w 2201862"/>
              <a:gd name="connsiteY6" fmla="*/ 0 h 1914525"/>
              <a:gd name="connsiteX7" fmla="*/ 2020887 w 2201862"/>
              <a:gd name="connsiteY7" fmla="*/ 209550 h 1914525"/>
              <a:gd name="connsiteX8" fmla="*/ 1763712 w 2201862"/>
              <a:gd name="connsiteY8" fmla="*/ 514350 h 1914525"/>
              <a:gd name="connsiteX9" fmla="*/ 1458912 w 2201862"/>
              <a:gd name="connsiteY9" fmla="*/ 533400 h 1914525"/>
              <a:gd name="connsiteX10" fmla="*/ 820737 w 2201862"/>
              <a:gd name="connsiteY10" fmla="*/ 942975 h 1914525"/>
              <a:gd name="connsiteX11" fmla="*/ 239712 w 2201862"/>
              <a:gd name="connsiteY11" fmla="*/ 1047750 h 1914525"/>
              <a:gd name="connsiteX12" fmla="*/ 30162 w 2201862"/>
              <a:gd name="connsiteY12" fmla="*/ 1038225 h 1914525"/>
              <a:gd name="connsiteX0" fmla="*/ 30162 w 2201862"/>
              <a:gd name="connsiteY0" fmla="*/ 1038225 h 1914525"/>
              <a:gd name="connsiteX1" fmla="*/ 420687 w 2201862"/>
              <a:gd name="connsiteY1" fmla="*/ 1571625 h 1914525"/>
              <a:gd name="connsiteX2" fmla="*/ 849312 w 2201862"/>
              <a:gd name="connsiteY2" fmla="*/ 1914525 h 1914525"/>
              <a:gd name="connsiteX3" fmla="*/ 1439862 w 2201862"/>
              <a:gd name="connsiteY3" fmla="*/ 1771650 h 1914525"/>
              <a:gd name="connsiteX4" fmla="*/ 1906587 w 2201862"/>
              <a:gd name="connsiteY4" fmla="*/ 1371600 h 1914525"/>
              <a:gd name="connsiteX5" fmla="*/ 2201862 w 2201862"/>
              <a:gd name="connsiteY5" fmla="*/ 752475 h 1914525"/>
              <a:gd name="connsiteX6" fmla="*/ 2135187 w 2201862"/>
              <a:gd name="connsiteY6" fmla="*/ 0 h 1914525"/>
              <a:gd name="connsiteX7" fmla="*/ 2020887 w 2201862"/>
              <a:gd name="connsiteY7" fmla="*/ 209550 h 1914525"/>
              <a:gd name="connsiteX8" fmla="*/ 1763712 w 2201862"/>
              <a:gd name="connsiteY8" fmla="*/ 514350 h 1914525"/>
              <a:gd name="connsiteX9" fmla="*/ 1458912 w 2201862"/>
              <a:gd name="connsiteY9" fmla="*/ 533400 h 1914525"/>
              <a:gd name="connsiteX10" fmla="*/ 820737 w 2201862"/>
              <a:gd name="connsiteY10" fmla="*/ 942975 h 1914525"/>
              <a:gd name="connsiteX11" fmla="*/ 239712 w 2201862"/>
              <a:gd name="connsiteY11" fmla="*/ 1047750 h 1914525"/>
              <a:gd name="connsiteX12" fmla="*/ 30162 w 2201862"/>
              <a:gd name="connsiteY12" fmla="*/ 1038225 h 1914525"/>
              <a:gd name="connsiteX0" fmla="*/ 30162 w 2201862"/>
              <a:gd name="connsiteY0" fmla="*/ 1128712 h 2005012"/>
              <a:gd name="connsiteX1" fmla="*/ 420687 w 2201862"/>
              <a:gd name="connsiteY1" fmla="*/ 1662112 h 2005012"/>
              <a:gd name="connsiteX2" fmla="*/ 849312 w 2201862"/>
              <a:gd name="connsiteY2" fmla="*/ 2005012 h 2005012"/>
              <a:gd name="connsiteX3" fmla="*/ 1439862 w 2201862"/>
              <a:gd name="connsiteY3" fmla="*/ 1862137 h 2005012"/>
              <a:gd name="connsiteX4" fmla="*/ 1906587 w 2201862"/>
              <a:gd name="connsiteY4" fmla="*/ 1462087 h 2005012"/>
              <a:gd name="connsiteX5" fmla="*/ 2201862 w 2201862"/>
              <a:gd name="connsiteY5" fmla="*/ 842962 h 2005012"/>
              <a:gd name="connsiteX6" fmla="*/ 2135187 w 2201862"/>
              <a:gd name="connsiteY6" fmla="*/ 90487 h 2005012"/>
              <a:gd name="connsiteX7" fmla="*/ 2020887 w 2201862"/>
              <a:gd name="connsiteY7" fmla="*/ 300037 h 2005012"/>
              <a:gd name="connsiteX8" fmla="*/ 1763712 w 2201862"/>
              <a:gd name="connsiteY8" fmla="*/ 604837 h 2005012"/>
              <a:gd name="connsiteX9" fmla="*/ 1458912 w 2201862"/>
              <a:gd name="connsiteY9" fmla="*/ 623887 h 2005012"/>
              <a:gd name="connsiteX10" fmla="*/ 820737 w 2201862"/>
              <a:gd name="connsiteY10" fmla="*/ 1033462 h 2005012"/>
              <a:gd name="connsiteX11" fmla="*/ 239712 w 2201862"/>
              <a:gd name="connsiteY11" fmla="*/ 1138237 h 2005012"/>
              <a:gd name="connsiteX12" fmla="*/ 30162 w 2201862"/>
              <a:gd name="connsiteY12" fmla="*/ 1128712 h 2005012"/>
              <a:gd name="connsiteX0" fmla="*/ 30162 w 2239962"/>
              <a:gd name="connsiteY0" fmla="*/ 1128712 h 2005012"/>
              <a:gd name="connsiteX1" fmla="*/ 420687 w 2239962"/>
              <a:gd name="connsiteY1" fmla="*/ 1662112 h 2005012"/>
              <a:gd name="connsiteX2" fmla="*/ 849312 w 2239962"/>
              <a:gd name="connsiteY2" fmla="*/ 2005012 h 2005012"/>
              <a:gd name="connsiteX3" fmla="*/ 1439862 w 2239962"/>
              <a:gd name="connsiteY3" fmla="*/ 1862137 h 2005012"/>
              <a:gd name="connsiteX4" fmla="*/ 1906587 w 2239962"/>
              <a:gd name="connsiteY4" fmla="*/ 1462087 h 2005012"/>
              <a:gd name="connsiteX5" fmla="*/ 2201862 w 2239962"/>
              <a:gd name="connsiteY5" fmla="*/ 842962 h 2005012"/>
              <a:gd name="connsiteX6" fmla="*/ 2135187 w 2239962"/>
              <a:gd name="connsiteY6" fmla="*/ 90487 h 2005012"/>
              <a:gd name="connsiteX7" fmla="*/ 2020887 w 2239962"/>
              <a:gd name="connsiteY7" fmla="*/ 300037 h 2005012"/>
              <a:gd name="connsiteX8" fmla="*/ 1763712 w 2239962"/>
              <a:gd name="connsiteY8" fmla="*/ 604837 h 2005012"/>
              <a:gd name="connsiteX9" fmla="*/ 1458912 w 2239962"/>
              <a:gd name="connsiteY9" fmla="*/ 623887 h 2005012"/>
              <a:gd name="connsiteX10" fmla="*/ 820737 w 2239962"/>
              <a:gd name="connsiteY10" fmla="*/ 1033462 h 2005012"/>
              <a:gd name="connsiteX11" fmla="*/ 239712 w 2239962"/>
              <a:gd name="connsiteY11" fmla="*/ 1138237 h 2005012"/>
              <a:gd name="connsiteX12" fmla="*/ 30162 w 2239962"/>
              <a:gd name="connsiteY12" fmla="*/ 1128712 h 2005012"/>
              <a:gd name="connsiteX0" fmla="*/ 30162 w 2239962"/>
              <a:gd name="connsiteY0" fmla="*/ 1128712 h 2005012"/>
              <a:gd name="connsiteX1" fmla="*/ 420687 w 2239962"/>
              <a:gd name="connsiteY1" fmla="*/ 1662112 h 2005012"/>
              <a:gd name="connsiteX2" fmla="*/ 849312 w 2239962"/>
              <a:gd name="connsiteY2" fmla="*/ 2005012 h 2005012"/>
              <a:gd name="connsiteX3" fmla="*/ 1439862 w 2239962"/>
              <a:gd name="connsiteY3" fmla="*/ 1862137 h 2005012"/>
              <a:gd name="connsiteX4" fmla="*/ 1906587 w 2239962"/>
              <a:gd name="connsiteY4" fmla="*/ 1462087 h 2005012"/>
              <a:gd name="connsiteX5" fmla="*/ 2201862 w 2239962"/>
              <a:gd name="connsiteY5" fmla="*/ 842962 h 2005012"/>
              <a:gd name="connsiteX6" fmla="*/ 2135187 w 2239962"/>
              <a:gd name="connsiteY6" fmla="*/ 90487 h 2005012"/>
              <a:gd name="connsiteX7" fmla="*/ 2020887 w 2239962"/>
              <a:gd name="connsiteY7" fmla="*/ 300037 h 2005012"/>
              <a:gd name="connsiteX8" fmla="*/ 1763712 w 2239962"/>
              <a:gd name="connsiteY8" fmla="*/ 604837 h 2005012"/>
              <a:gd name="connsiteX9" fmla="*/ 1458912 w 2239962"/>
              <a:gd name="connsiteY9" fmla="*/ 623887 h 2005012"/>
              <a:gd name="connsiteX10" fmla="*/ 820737 w 2239962"/>
              <a:gd name="connsiteY10" fmla="*/ 1033462 h 2005012"/>
              <a:gd name="connsiteX11" fmla="*/ 239712 w 2239962"/>
              <a:gd name="connsiteY11" fmla="*/ 1138237 h 2005012"/>
              <a:gd name="connsiteX12" fmla="*/ 30162 w 2239962"/>
              <a:gd name="connsiteY12" fmla="*/ 1128712 h 2005012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1458912 w 2239962"/>
              <a:gd name="connsiteY9" fmla="*/ 623887 h 2038350"/>
              <a:gd name="connsiteX10" fmla="*/ 820737 w 2239962"/>
              <a:gd name="connsiteY10" fmla="*/ 1033462 h 2038350"/>
              <a:gd name="connsiteX11" fmla="*/ 239712 w 2239962"/>
              <a:gd name="connsiteY11" fmla="*/ 1138237 h 2038350"/>
              <a:gd name="connsiteX12" fmla="*/ 30162 w 2239962"/>
              <a:gd name="connsiteY12" fmla="*/ 1128712 h 2038350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1458912 w 2239962"/>
              <a:gd name="connsiteY9" fmla="*/ 623887 h 2038350"/>
              <a:gd name="connsiteX10" fmla="*/ 820737 w 2239962"/>
              <a:gd name="connsiteY10" fmla="*/ 1033462 h 2038350"/>
              <a:gd name="connsiteX11" fmla="*/ 239712 w 2239962"/>
              <a:gd name="connsiteY11" fmla="*/ 1138237 h 2038350"/>
              <a:gd name="connsiteX12" fmla="*/ 30162 w 2239962"/>
              <a:gd name="connsiteY12" fmla="*/ 1128712 h 2038350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1458912 w 2239962"/>
              <a:gd name="connsiteY9" fmla="*/ 623887 h 2038350"/>
              <a:gd name="connsiteX10" fmla="*/ 820737 w 2239962"/>
              <a:gd name="connsiteY10" fmla="*/ 1033462 h 2038350"/>
              <a:gd name="connsiteX11" fmla="*/ 239712 w 2239962"/>
              <a:gd name="connsiteY11" fmla="*/ 1138237 h 2038350"/>
              <a:gd name="connsiteX12" fmla="*/ 30162 w 2239962"/>
              <a:gd name="connsiteY12" fmla="*/ 1128712 h 2038350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1458912 w 2239962"/>
              <a:gd name="connsiteY9" fmla="*/ 623887 h 2038350"/>
              <a:gd name="connsiteX10" fmla="*/ 820737 w 2239962"/>
              <a:gd name="connsiteY10" fmla="*/ 1033462 h 2038350"/>
              <a:gd name="connsiteX11" fmla="*/ 239712 w 2239962"/>
              <a:gd name="connsiteY11" fmla="*/ 1138237 h 2038350"/>
              <a:gd name="connsiteX12" fmla="*/ 30162 w 2239962"/>
              <a:gd name="connsiteY12" fmla="*/ 1128712 h 2038350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1458912 w 2239962"/>
              <a:gd name="connsiteY9" fmla="*/ 623887 h 2038350"/>
              <a:gd name="connsiteX10" fmla="*/ 820737 w 2239962"/>
              <a:gd name="connsiteY10" fmla="*/ 1033462 h 2038350"/>
              <a:gd name="connsiteX11" fmla="*/ 239712 w 2239962"/>
              <a:gd name="connsiteY11" fmla="*/ 1138237 h 2038350"/>
              <a:gd name="connsiteX12" fmla="*/ 30162 w 2239962"/>
              <a:gd name="connsiteY12" fmla="*/ 1128712 h 2038350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820737 w 2239962"/>
              <a:gd name="connsiteY9" fmla="*/ 1033462 h 2038350"/>
              <a:gd name="connsiteX10" fmla="*/ 239712 w 2239962"/>
              <a:gd name="connsiteY10" fmla="*/ 1138237 h 2038350"/>
              <a:gd name="connsiteX11" fmla="*/ 30162 w 2239962"/>
              <a:gd name="connsiteY11" fmla="*/ 1128712 h 2038350"/>
              <a:gd name="connsiteX0" fmla="*/ 30162 w 2239962"/>
              <a:gd name="connsiteY0" fmla="*/ 1128712 h 2038350"/>
              <a:gd name="connsiteX1" fmla="*/ 420687 w 2239962"/>
              <a:gd name="connsiteY1" fmla="*/ 1662112 h 2038350"/>
              <a:gd name="connsiteX2" fmla="*/ 849312 w 2239962"/>
              <a:gd name="connsiteY2" fmla="*/ 2005012 h 2038350"/>
              <a:gd name="connsiteX3" fmla="*/ 1439862 w 2239962"/>
              <a:gd name="connsiteY3" fmla="*/ 1862137 h 2038350"/>
              <a:gd name="connsiteX4" fmla="*/ 1906587 w 2239962"/>
              <a:gd name="connsiteY4" fmla="*/ 1462087 h 2038350"/>
              <a:gd name="connsiteX5" fmla="*/ 2201862 w 2239962"/>
              <a:gd name="connsiteY5" fmla="*/ 842962 h 2038350"/>
              <a:gd name="connsiteX6" fmla="*/ 2135187 w 2239962"/>
              <a:gd name="connsiteY6" fmla="*/ 90487 h 2038350"/>
              <a:gd name="connsiteX7" fmla="*/ 2020887 w 2239962"/>
              <a:gd name="connsiteY7" fmla="*/ 300037 h 2038350"/>
              <a:gd name="connsiteX8" fmla="*/ 1763712 w 2239962"/>
              <a:gd name="connsiteY8" fmla="*/ 604837 h 2038350"/>
              <a:gd name="connsiteX9" fmla="*/ 820737 w 2239962"/>
              <a:gd name="connsiteY9" fmla="*/ 1033462 h 2038350"/>
              <a:gd name="connsiteX10" fmla="*/ 239712 w 2239962"/>
              <a:gd name="connsiteY10" fmla="*/ 1138237 h 2038350"/>
              <a:gd name="connsiteX11" fmla="*/ 30162 w 2239962"/>
              <a:gd name="connsiteY11" fmla="*/ 1128712 h 2038350"/>
              <a:gd name="connsiteX0" fmla="*/ 30162 w 2220912"/>
              <a:gd name="connsiteY0" fmla="*/ 868362 h 1778000"/>
              <a:gd name="connsiteX1" fmla="*/ 420687 w 2220912"/>
              <a:gd name="connsiteY1" fmla="*/ 1401762 h 1778000"/>
              <a:gd name="connsiteX2" fmla="*/ 849312 w 2220912"/>
              <a:gd name="connsiteY2" fmla="*/ 1744662 h 1778000"/>
              <a:gd name="connsiteX3" fmla="*/ 1439862 w 2220912"/>
              <a:gd name="connsiteY3" fmla="*/ 1601787 h 1778000"/>
              <a:gd name="connsiteX4" fmla="*/ 1906587 w 2220912"/>
              <a:gd name="connsiteY4" fmla="*/ 1201737 h 1778000"/>
              <a:gd name="connsiteX5" fmla="*/ 2201862 w 2220912"/>
              <a:gd name="connsiteY5" fmla="*/ 582612 h 1778000"/>
              <a:gd name="connsiteX6" fmla="*/ 2020887 w 2220912"/>
              <a:gd name="connsiteY6" fmla="*/ 39687 h 1778000"/>
              <a:gd name="connsiteX7" fmla="*/ 1763712 w 2220912"/>
              <a:gd name="connsiteY7" fmla="*/ 344487 h 1778000"/>
              <a:gd name="connsiteX8" fmla="*/ 820737 w 2220912"/>
              <a:gd name="connsiteY8" fmla="*/ 773112 h 1778000"/>
              <a:gd name="connsiteX9" fmla="*/ 239712 w 2220912"/>
              <a:gd name="connsiteY9" fmla="*/ 877887 h 1778000"/>
              <a:gd name="connsiteX10" fmla="*/ 30162 w 2220912"/>
              <a:gd name="connsiteY10" fmla="*/ 868362 h 1778000"/>
              <a:gd name="connsiteX0" fmla="*/ 30162 w 2220912"/>
              <a:gd name="connsiteY0" fmla="*/ 868362 h 1778000"/>
              <a:gd name="connsiteX1" fmla="*/ 420687 w 2220912"/>
              <a:gd name="connsiteY1" fmla="*/ 1401762 h 1778000"/>
              <a:gd name="connsiteX2" fmla="*/ 849312 w 2220912"/>
              <a:gd name="connsiteY2" fmla="*/ 1744662 h 1778000"/>
              <a:gd name="connsiteX3" fmla="*/ 1439862 w 2220912"/>
              <a:gd name="connsiteY3" fmla="*/ 1601787 h 1778000"/>
              <a:gd name="connsiteX4" fmla="*/ 1906587 w 2220912"/>
              <a:gd name="connsiteY4" fmla="*/ 1201737 h 1778000"/>
              <a:gd name="connsiteX5" fmla="*/ 2201862 w 2220912"/>
              <a:gd name="connsiteY5" fmla="*/ 582612 h 1778000"/>
              <a:gd name="connsiteX6" fmla="*/ 2020887 w 2220912"/>
              <a:gd name="connsiteY6" fmla="*/ 39687 h 1778000"/>
              <a:gd name="connsiteX7" fmla="*/ 1763712 w 2220912"/>
              <a:gd name="connsiteY7" fmla="*/ 344487 h 1778000"/>
              <a:gd name="connsiteX8" fmla="*/ 820737 w 2220912"/>
              <a:gd name="connsiteY8" fmla="*/ 773112 h 1778000"/>
              <a:gd name="connsiteX9" fmla="*/ 239712 w 2220912"/>
              <a:gd name="connsiteY9" fmla="*/ 877887 h 1778000"/>
              <a:gd name="connsiteX10" fmla="*/ 30162 w 2220912"/>
              <a:gd name="connsiteY10" fmla="*/ 868362 h 1778000"/>
              <a:gd name="connsiteX0" fmla="*/ 30162 w 2312374"/>
              <a:gd name="connsiteY0" fmla="*/ 869819 h 1779457"/>
              <a:gd name="connsiteX1" fmla="*/ 420687 w 2312374"/>
              <a:gd name="connsiteY1" fmla="*/ 1403219 h 1779457"/>
              <a:gd name="connsiteX2" fmla="*/ 849312 w 2312374"/>
              <a:gd name="connsiteY2" fmla="*/ 1746119 h 1779457"/>
              <a:gd name="connsiteX3" fmla="*/ 1439862 w 2312374"/>
              <a:gd name="connsiteY3" fmla="*/ 1603244 h 1779457"/>
              <a:gd name="connsiteX4" fmla="*/ 1906587 w 2312374"/>
              <a:gd name="connsiteY4" fmla="*/ 1203194 h 1779457"/>
              <a:gd name="connsiteX5" fmla="*/ 2201862 w 2312374"/>
              <a:gd name="connsiteY5" fmla="*/ 584069 h 1779457"/>
              <a:gd name="connsiteX6" fmla="*/ 2239349 w 2312374"/>
              <a:gd name="connsiteY6" fmla="*/ 39687 h 1779457"/>
              <a:gd name="connsiteX7" fmla="*/ 1763712 w 2312374"/>
              <a:gd name="connsiteY7" fmla="*/ 345944 h 1779457"/>
              <a:gd name="connsiteX8" fmla="*/ 820737 w 2312374"/>
              <a:gd name="connsiteY8" fmla="*/ 774569 h 1779457"/>
              <a:gd name="connsiteX9" fmla="*/ 239712 w 2312374"/>
              <a:gd name="connsiteY9" fmla="*/ 879344 h 1779457"/>
              <a:gd name="connsiteX10" fmla="*/ 30162 w 2312374"/>
              <a:gd name="connsiteY10" fmla="*/ 869819 h 1779457"/>
              <a:gd name="connsiteX0" fmla="*/ 30162 w 2332627"/>
              <a:gd name="connsiteY0" fmla="*/ 846217 h 1755855"/>
              <a:gd name="connsiteX1" fmla="*/ 420687 w 2332627"/>
              <a:gd name="connsiteY1" fmla="*/ 1379617 h 1755855"/>
              <a:gd name="connsiteX2" fmla="*/ 849312 w 2332627"/>
              <a:gd name="connsiteY2" fmla="*/ 1722517 h 1755855"/>
              <a:gd name="connsiteX3" fmla="*/ 1439862 w 2332627"/>
              <a:gd name="connsiteY3" fmla="*/ 1579642 h 1755855"/>
              <a:gd name="connsiteX4" fmla="*/ 1906587 w 2332627"/>
              <a:gd name="connsiteY4" fmla="*/ 1179592 h 1755855"/>
              <a:gd name="connsiteX5" fmla="*/ 2201862 w 2332627"/>
              <a:gd name="connsiteY5" fmla="*/ 560467 h 1755855"/>
              <a:gd name="connsiteX6" fmla="*/ 2239349 w 2332627"/>
              <a:gd name="connsiteY6" fmla="*/ 16085 h 1755855"/>
              <a:gd name="connsiteX7" fmla="*/ 1642189 w 2332627"/>
              <a:gd name="connsiteY7" fmla="*/ 463955 h 1755855"/>
              <a:gd name="connsiteX8" fmla="*/ 820737 w 2332627"/>
              <a:gd name="connsiteY8" fmla="*/ 750967 h 1755855"/>
              <a:gd name="connsiteX9" fmla="*/ 239712 w 2332627"/>
              <a:gd name="connsiteY9" fmla="*/ 855742 h 1755855"/>
              <a:gd name="connsiteX10" fmla="*/ 30162 w 2332627"/>
              <a:gd name="connsiteY10" fmla="*/ 846217 h 1755855"/>
              <a:gd name="connsiteX0" fmla="*/ 30162 w 2332628"/>
              <a:gd name="connsiteY0" fmla="*/ 846217 h 1755855"/>
              <a:gd name="connsiteX1" fmla="*/ 420687 w 2332628"/>
              <a:gd name="connsiteY1" fmla="*/ 1379617 h 1755855"/>
              <a:gd name="connsiteX2" fmla="*/ 849312 w 2332628"/>
              <a:gd name="connsiteY2" fmla="*/ 1722517 h 1755855"/>
              <a:gd name="connsiteX3" fmla="*/ 1439862 w 2332628"/>
              <a:gd name="connsiteY3" fmla="*/ 1579642 h 1755855"/>
              <a:gd name="connsiteX4" fmla="*/ 1906587 w 2332628"/>
              <a:gd name="connsiteY4" fmla="*/ 1179592 h 1755855"/>
              <a:gd name="connsiteX5" fmla="*/ 2201862 w 2332628"/>
              <a:gd name="connsiteY5" fmla="*/ 560467 h 1755855"/>
              <a:gd name="connsiteX6" fmla="*/ 2239349 w 2332628"/>
              <a:gd name="connsiteY6" fmla="*/ 16085 h 1755855"/>
              <a:gd name="connsiteX7" fmla="*/ 1642189 w 2332628"/>
              <a:gd name="connsiteY7" fmla="*/ 463955 h 1755855"/>
              <a:gd name="connsiteX8" fmla="*/ 970384 w 2332628"/>
              <a:gd name="connsiteY8" fmla="*/ 538600 h 1755855"/>
              <a:gd name="connsiteX9" fmla="*/ 239712 w 2332628"/>
              <a:gd name="connsiteY9" fmla="*/ 855742 h 1755855"/>
              <a:gd name="connsiteX10" fmla="*/ 30162 w 2332628"/>
              <a:gd name="connsiteY10" fmla="*/ 846217 h 1755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332628" h="1755855">
                <a:moveTo>
                  <a:pt x="30162" y="846217"/>
                </a:moveTo>
                <a:cubicBezTo>
                  <a:pt x="60324" y="933529"/>
                  <a:pt x="284162" y="1233567"/>
                  <a:pt x="420687" y="1379617"/>
                </a:cubicBezTo>
                <a:cubicBezTo>
                  <a:pt x="557212" y="1525667"/>
                  <a:pt x="679449" y="1689179"/>
                  <a:pt x="849312" y="1722517"/>
                </a:cubicBezTo>
                <a:cubicBezTo>
                  <a:pt x="1019175" y="1755855"/>
                  <a:pt x="1263650" y="1670129"/>
                  <a:pt x="1439862" y="1579642"/>
                </a:cubicBezTo>
                <a:cubicBezTo>
                  <a:pt x="1616074" y="1489155"/>
                  <a:pt x="1779587" y="1349455"/>
                  <a:pt x="1906587" y="1179592"/>
                </a:cubicBezTo>
                <a:cubicBezTo>
                  <a:pt x="2033587" y="1009729"/>
                  <a:pt x="2146402" y="754385"/>
                  <a:pt x="2201862" y="560467"/>
                </a:cubicBezTo>
                <a:cubicBezTo>
                  <a:pt x="2257322" y="366549"/>
                  <a:pt x="2332628" y="32170"/>
                  <a:pt x="2239349" y="16085"/>
                </a:cubicBezTo>
                <a:cubicBezTo>
                  <a:pt x="2146070" y="0"/>
                  <a:pt x="1853683" y="376869"/>
                  <a:pt x="1642189" y="463955"/>
                </a:cubicBezTo>
                <a:cubicBezTo>
                  <a:pt x="1430695" y="551041"/>
                  <a:pt x="1204130" y="473302"/>
                  <a:pt x="970384" y="538600"/>
                </a:cubicBezTo>
                <a:cubicBezTo>
                  <a:pt x="736638" y="603898"/>
                  <a:pt x="396416" y="804472"/>
                  <a:pt x="239712" y="855742"/>
                </a:cubicBezTo>
                <a:cubicBezTo>
                  <a:pt x="83008" y="907012"/>
                  <a:pt x="0" y="758905"/>
                  <a:pt x="30162" y="846217"/>
                </a:cubicBezTo>
                <a:close/>
              </a:path>
            </a:pathLst>
          </a:custGeom>
          <a:gradFill flip="none" rotWithShape="1">
            <a:gsLst>
              <a:gs pos="74000">
                <a:schemeClr val="bg1">
                  <a:alpha val="11000"/>
                </a:schemeClr>
              </a:gs>
              <a:gs pos="28000">
                <a:schemeClr val="bg1">
                  <a:alpha val="0"/>
                </a:schemeClr>
              </a:gs>
              <a:gs pos="0">
                <a:schemeClr val="bg1">
                  <a:alpha val="0"/>
                </a:schemeClr>
              </a:gs>
            </a:gsLst>
            <a:lin ang="27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Oval 26"/>
          <p:cNvSpPr>
            <a:spLocks noChangeAspect="1" noChangeArrowheads="1"/>
          </p:cNvSpPr>
          <p:nvPr/>
        </p:nvSpPr>
        <p:spPr bwMode="auto">
          <a:xfrm rot="8100000">
            <a:off x="8007836" y="3896894"/>
            <a:ext cx="731006" cy="392006"/>
          </a:xfrm>
          <a:prstGeom prst="ellipse">
            <a:avLst/>
          </a:prstGeom>
          <a:gradFill rotWithShape="1">
            <a:gsLst>
              <a:gs pos="0">
                <a:schemeClr val="bg1">
                  <a:alpha val="33000"/>
                </a:schemeClr>
              </a:gs>
              <a:gs pos="20000">
                <a:schemeClr val="bg1">
                  <a:gamma/>
                  <a:shade val="46275"/>
                  <a:invGamma/>
                  <a:alpha val="0"/>
                </a:schemeClr>
              </a:gs>
            </a:gsLst>
            <a:lin ang="5400000" scaled="1"/>
          </a:gradFill>
          <a:ln w="381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7" name="직선 연결선 88"/>
          <p:cNvCxnSpPr/>
          <p:nvPr/>
        </p:nvCxnSpPr>
        <p:spPr>
          <a:xfrm rot="5400000">
            <a:off x="46418" y="2852937"/>
            <a:ext cx="162018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2"/>
          <p:cNvSpPr txBox="1">
            <a:spLocks noChangeArrowheads="1"/>
          </p:cNvSpPr>
          <p:nvPr/>
        </p:nvSpPr>
        <p:spPr bwMode="auto">
          <a:xfrm>
            <a:off x="847818" y="1428630"/>
            <a:ext cx="2093497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Cold Chain distribution service for medication commenced</a:t>
            </a:r>
            <a:endParaRPr kumimoji="0" lang="en-US" altLang="ko-KR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맑은 고딕" pitchFamily="50" charset="-127"/>
              <a:cs typeface="Arial" pitchFamily="34" charset="0"/>
            </a:endParaRPr>
          </a:p>
        </p:txBody>
      </p:sp>
      <p:cxnSp>
        <p:nvCxnSpPr>
          <p:cNvPr id="71" name="직선 연결선 92"/>
          <p:cNvCxnSpPr/>
          <p:nvPr/>
        </p:nvCxnSpPr>
        <p:spPr>
          <a:xfrm rot="5400000">
            <a:off x="2824890" y="2852937"/>
            <a:ext cx="162018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그룹 49"/>
          <p:cNvGrpSpPr>
            <a:grpSpLocks/>
          </p:cNvGrpSpPr>
          <p:nvPr/>
        </p:nvGrpSpPr>
        <p:grpSpPr bwMode="auto">
          <a:xfrm>
            <a:off x="3659794" y="1719681"/>
            <a:ext cx="2093497" cy="1133256"/>
            <a:chOff x="1356507" y="1388305"/>
            <a:chExt cx="2092733" cy="1134778"/>
          </a:xfrm>
        </p:grpSpPr>
        <p:sp>
          <p:nvSpPr>
            <p:cNvPr id="73" name="TextBox 62"/>
            <p:cNvSpPr txBox="1">
              <a:spLocks noChangeArrowheads="1"/>
            </p:cNvSpPr>
            <p:nvPr/>
          </p:nvSpPr>
          <p:spPr bwMode="auto">
            <a:xfrm>
              <a:off x="1356507" y="1388305"/>
              <a:ext cx="2092733" cy="647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altLang="ko-KR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ea typeface="맑은 고딕" pitchFamily="50" charset="-127"/>
                  <a:cs typeface="Arial" pitchFamily="34" charset="0"/>
                </a:rPr>
                <a:t>Datamatrix barcodes</a:t>
              </a:r>
              <a:endParaRPr kumimoji="0" lang="en-US" altLang="ko-K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맑은 고딕" pitchFamily="50" charset="-127"/>
                <a:cs typeface="Arial" pitchFamily="34" charset="0"/>
              </a:endParaRPr>
            </a:p>
          </p:txBody>
        </p:sp>
        <p:sp>
          <p:nvSpPr>
            <p:cNvPr id="74" name="TextBox 73"/>
            <p:cNvSpPr txBox="1"/>
            <p:nvPr/>
          </p:nvSpPr>
          <p:spPr bwMode="auto">
            <a:xfrm>
              <a:off x="1428563" y="1968341"/>
              <a:ext cx="1933477" cy="55474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28600" indent="-2286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IE" altLang="ko-KR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</a:rPr>
                <a:t>Start of migration from linear to GS1 2D (Datamatrix) barcodes on medication</a:t>
              </a:r>
            </a:p>
          </p:txBody>
        </p:sp>
      </p:grpSp>
      <p:cxnSp>
        <p:nvCxnSpPr>
          <p:cNvPr id="75" name="직선 연결선 96"/>
          <p:cNvCxnSpPr/>
          <p:nvPr/>
        </p:nvCxnSpPr>
        <p:spPr>
          <a:xfrm rot="5400000">
            <a:off x="5600210" y="2852937"/>
            <a:ext cx="1620180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6" name="그룹 49"/>
          <p:cNvGrpSpPr>
            <a:grpSpLocks/>
          </p:cNvGrpSpPr>
          <p:nvPr/>
        </p:nvGrpSpPr>
        <p:grpSpPr bwMode="auto">
          <a:xfrm>
            <a:off x="6373290" y="1994589"/>
            <a:ext cx="2093497" cy="862999"/>
            <a:chOff x="1297858" y="1663584"/>
            <a:chExt cx="2092733" cy="864159"/>
          </a:xfrm>
        </p:grpSpPr>
        <p:sp>
          <p:nvSpPr>
            <p:cNvPr id="77" name="TextBox 62"/>
            <p:cNvSpPr txBox="1">
              <a:spLocks noChangeArrowheads="1"/>
            </p:cNvSpPr>
            <p:nvPr/>
          </p:nvSpPr>
          <p:spPr bwMode="auto">
            <a:xfrm>
              <a:off x="1297858" y="1663584"/>
              <a:ext cx="2092733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kumimoji="0" lang="en-US" altLang="ko-KR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ea typeface="맑은 고딕" pitchFamily="50" charset="-127"/>
                  <a:cs typeface="Arial" pitchFamily="34" charset="0"/>
                </a:rPr>
                <a:t>Smartphone App</a:t>
              </a:r>
              <a:endParaRPr kumimoji="0" lang="en-US" altLang="ko-K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맑은 고딕" pitchFamily="50" charset="-127"/>
                <a:cs typeface="Arial" pitchFamily="34" charset="0"/>
              </a:endParaRPr>
            </a:p>
          </p:txBody>
        </p:sp>
        <p:sp>
          <p:nvSpPr>
            <p:cNvPr id="78" name="TextBox 77"/>
            <p:cNvSpPr txBox="1"/>
            <p:nvPr/>
          </p:nvSpPr>
          <p:spPr bwMode="auto">
            <a:xfrm>
              <a:off x="1355344" y="1973000"/>
              <a:ext cx="1933477" cy="5547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28600" indent="-2286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</a:rPr>
                <a:t>First 20 patients commence scanning with smartphone App</a:t>
              </a:r>
              <a:endParaRPr kumimoji="0" lang="en-US" altLang="ko-KR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cxnSp>
        <p:nvCxnSpPr>
          <p:cNvPr id="79" name="직선 연결선 100"/>
          <p:cNvCxnSpPr/>
          <p:nvPr/>
        </p:nvCxnSpPr>
        <p:spPr>
          <a:xfrm>
            <a:off x="2699792" y="4489942"/>
            <a:ext cx="0" cy="936827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그룹 49"/>
          <p:cNvGrpSpPr>
            <a:grpSpLocks/>
          </p:cNvGrpSpPr>
          <p:nvPr/>
        </p:nvGrpSpPr>
        <p:grpSpPr bwMode="auto">
          <a:xfrm>
            <a:off x="819527" y="5179256"/>
            <a:ext cx="2313938" cy="1066663"/>
            <a:chOff x="1190733" y="1711905"/>
            <a:chExt cx="2313094" cy="1068097"/>
          </a:xfrm>
        </p:grpSpPr>
        <p:sp>
          <p:nvSpPr>
            <p:cNvPr id="81" name="TextBox 62"/>
            <p:cNvSpPr txBox="1">
              <a:spLocks noChangeArrowheads="1"/>
            </p:cNvSpPr>
            <p:nvPr/>
          </p:nvSpPr>
          <p:spPr bwMode="auto">
            <a:xfrm>
              <a:off x="1411094" y="1711905"/>
              <a:ext cx="2092733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kumimoji="0" lang="en-US" altLang="ko-KR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ea typeface="맑은 고딕" pitchFamily="50" charset="-127"/>
                  <a:cs typeface="Arial" pitchFamily="34" charset="0"/>
                </a:rPr>
                <a:t>GS1 Barcodes</a:t>
              </a:r>
              <a:endParaRPr kumimoji="0" lang="en-US" altLang="ko-K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맑은 고딕" pitchFamily="50" charset="-127"/>
                <a:cs typeface="Arial" pitchFamily="34" charset="0"/>
              </a:endParaRPr>
            </a:p>
          </p:txBody>
        </p:sp>
        <p:sp>
          <p:nvSpPr>
            <p:cNvPr id="82" name="TextBox 81"/>
            <p:cNvSpPr txBox="1"/>
            <p:nvPr/>
          </p:nvSpPr>
          <p:spPr bwMode="auto">
            <a:xfrm>
              <a:off x="1190733" y="2071164"/>
              <a:ext cx="2199859" cy="70883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28600" indent="-2286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IE" altLang="ko-KR" sz="1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</a:rPr>
                <a:t>barcodes </a:t>
              </a:r>
              <a:r>
                <a:rPr lang="en-IE" altLang="ko-KR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</a:rPr>
                <a:t>(linear</a:t>
              </a:r>
              <a:r>
                <a:rPr lang="en-IE" altLang="ko-KR" sz="1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</a:rPr>
                <a:t>)</a:t>
              </a:r>
            </a:p>
            <a:p>
              <a:pPr marL="228600" indent="-2286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IE" altLang="ko-KR" sz="1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</a:rPr>
                <a:t>     implementation </a:t>
              </a:r>
              <a:r>
                <a:rPr lang="en-IE" altLang="ko-KR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</a:rPr>
                <a:t>on medication and embedded in Cold Chain delivery service</a:t>
              </a:r>
              <a:endParaRPr kumimoji="0" lang="en-US" altLang="ko-KR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cxnSp>
        <p:nvCxnSpPr>
          <p:cNvPr id="83" name="직선 연결선 104"/>
          <p:cNvCxnSpPr/>
          <p:nvPr/>
        </p:nvCxnSpPr>
        <p:spPr>
          <a:xfrm flipH="1">
            <a:off x="5580112" y="4361946"/>
            <a:ext cx="9127" cy="1121246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4" name="그룹 49"/>
          <p:cNvGrpSpPr>
            <a:grpSpLocks/>
          </p:cNvGrpSpPr>
          <p:nvPr/>
        </p:nvGrpSpPr>
        <p:grpSpPr bwMode="auto">
          <a:xfrm>
            <a:off x="3730106" y="5179258"/>
            <a:ext cx="2093497" cy="1066663"/>
            <a:chOff x="1411094" y="1711905"/>
            <a:chExt cx="2092733" cy="1068096"/>
          </a:xfrm>
        </p:grpSpPr>
        <p:sp>
          <p:nvSpPr>
            <p:cNvPr id="85" name="TextBox 62"/>
            <p:cNvSpPr txBox="1">
              <a:spLocks noChangeArrowheads="1"/>
            </p:cNvSpPr>
            <p:nvPr/>
          </p:nvSpPr>
          <p:spPr bwMode="auto">
            <a:xfrm>
              <a:off x="1411094" y="1711905"/>
              <a:ext cx="2092733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kumimoji="0" lang="en-US" altLang="ko-KR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ea typeface="맑은 고딕" pitchFamily="50" charset="-127"/>
                  <a:cs typeface="Arial" pitchFamily="34" charset="0"/>
                </a:rPr>
                <a:t>Hospital tracking</a:t>
              </a:r>
              <a:endParaRPr kumimoji="0" lang="en-US" altLang="ko-K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맑은 고딕" pitchFamily="50" charset="-127"/>
                <a:cs typeface="Arial" pitchFamily="34" charset="0"/>
              </a:endParaRPr>
            </a:p>
          </p:txBody>
        </p:sp>
        <p:sp>
          <p:nvSpPr>
            <p:cNvPr id="86" name="TextBox 85"/>
            <p:cNvSpPr txBox="1"/>
            <p:nvPr/>
          </p:nvSpPr>
          <p:spPr bwMode="auto">
            <a:xfrm>
              <a:off x="1457114" y="2071164"/>
              <a:ext cx="1933477" cy="70883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28600" indent="-2286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IE" altLang="ko-KR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</a:rPr>
                <a:t>Hospital </a:t>
              </a:r>
              <a:r>
                <a:rPr lang="en-IE" altLang="ko-KR" sz="1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en-IE" altLang="ko-KR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</a:rPr>
                <a:t>track </a:t>
              </a:r>
              <a:r>
                <a:rPr lang="en-IE" altLang="ko-KR" sz="1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</a:rPr>
                <a:t>and trace </a:t>
              </a:r>
              <a:r>
                <a:rPr lang="en-IE" altLang="ko-KR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</a:rPr>
                <a:t>of haemophilia medication </a:t>
              </a:r>
              <a:r>
                <a:rPr lang="en-IE" altLang="ko-KR" sz="1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</a:rPr>
                <a:t>using barcode scanning implemented</a:t>
              </a:r>
              <a:endParaRPr lang="en-IE" altLang="ko-KR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cxnSp>
        <p:nvCxnSpPr>
          <p:cNvPr id="87" name="직선 연결선 108"/>
          <p:cNvCxnSpPr/>
          <p:nvPr/>
        </p:nvCxnSpPr>
        <p:spPr>
          <a:xfrm rot="5400000">
            <a:off x="7676511" y="4900664"/>
            <a:ext cx="1665184" cy="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8" name="그룹 49"/>
          <p:cNvGrpSpPr>
            <a:grpSpLocks/>
          </p:cNvGrpSpPr>
          <p:nvPr/>
        </p:nvGrpSpPr>
        <p:grpSpPr bwMode="auto">
          <a:xfrm>
            <a:off x="6658423" y="4820482"/>
            <a:ext cx="2234057" cy="1158655"/>
            <a:chOff x="1411094" y="1711905"/>
            <a:chExt cx="2233242" cy="1160211"/>
          </a:xfrm>
        </p:grpSpPr>
        <p:sp>
          <p:nvSpPr>
            <p:cNvPr id="89" name="TextBox 62"/>
            <p:cNvSpPr txBox="1">
              <a:spLocks noChangeArrowheads="1"/>
            </p:cNvSpPr>
            <p:nvPr/>
          </p:nvSpPr>
          <p:spPr bwMode="auto">
            <a:xfrm>
              <a:off x="1411094" y="1711905"/>
              <a:ext cx="2233242" cy="6471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kumimoji="0" lang="en-US" altLang="ko-KR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ea typeface="맑은 고딕" pitchFamily="50" charset="-127"/>
                  <a:cs typeface="Arial" pitchFamily="34" charset="0"/>
                </a:rPr>
                <a:t>Patient data integration</a:t>
              </a:r>
              <a:endParaRPr kumimoji="0" lang="en-US" altLang="ko-KR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맑은 고딕" pitchFamily="50" charset="-127"/>
                <a:cs typeface="Arial" pitchFamily="34" charset="0"/>
              </a:endParaRPr>
            </a:p>
          </p:txBody>
        </p:sp>
        <p:sp>
          <p:nvSpPr>
            <p:cNvPr id="90" name="TextBox 89"/>
            <p:cNvSpPr txBox="1"/>
            <p:nvPr/>
          </p:nvSpPr>
          <p:spPr bwMode="auto">
            <a:xfrm>
              <a:off x="1453103" y="2317374"/>
              <a:ext cx="1933477" cy="55474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28600" indent="-2286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IE" altLang="ko-KR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</a:rPr>
                <a:t>Patient home treatment data from App </a:t>
              </a:r>
              <a:r>
                <a:rPr lang="en-IE" altLang="ko-KR" sz="1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</a:rPr>
                <a:t>fully integrated </a:t>
              </a:r>
              <a:r>
                <a:rPr lang="en-IE" altLang="ko-KR" sz="1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</a:rPr>
                <a:t>with </a:t>
              </a:r>
              <a:r>
                <a:rPr lang="en-IE" altLang="ko-KR" sz="1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</a:rPr>
                <a:t>EPR</a:t>
              </a:r>
              <a:endParaRPr lang="en-IE" altLang="ko-KR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7601529" y="3318533"/>
            <a:ext cx="1060684" cy="1060686"/>
            <a:chOff x="7499374" y="3309532"/>
            <a:chExt cx="1060684" cy="1060686"/>
          </a:xfrm>
        </p:grpSpPr>
        <p:sp>
          <p:nvSpPr>
            <p:cNvPr id="16" name="타원 37"/>
            <p:cNvSpPr/>
            <p:nvPr/>
          </p:nvSpPr>
          <p:spPr>
            <a:xfrm>
              <a:off x="7534704" y="3355008"/>
              <a:ext cx="997937" cy="997937"/>
            </a:xfrm>
            <a:prstGeom prst="ellipse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ko-KR" altLang="en-US" sz="16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1" name="타원 82"/>
            <p:cNvSpPr/>
            <p:nvPr/>
          </p:nvSpPr>
          <p:spPr>
            <a:xfrm>
              <a:off x="7499374" y="3309532"/>
              <a:ext cx="1060684" cy="1060686"/>
            </a:xfrm>
            <a:prstGeom prst="ellipse">
              <a:avLst/>
            </a:prstGeom>
            <a:gradFill flip="none" rotWithShape="1">
              <a:gsLst>
                <a:gs pos="62000">
                  <a:schemeClr val="bg1">
                    <a:alpha val="0"/>
                  </a:schemeClr>
                </a:gs>
                <a:gs pos="4500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solidFill>
                <a:schemeClr val="bg1"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3" name="Oval 28"/>
            <p:cNvSpPr>
              <a:spLocks noChangeArrowheads="1"/>
            </p:cNvSpPr>
            <p:nvPr/>
          </p:nvSpPr>
          <p:spPr bwMode="auto">
            <a:xfrm flipH="1">
              <a:off x="7613472" y="3418805"/>
              <a:ext cx="336254" cy="301391"/>
            </a:xfrm>
            <a:prstGeom prst="ellipse">
              <a:avLst/>
            </a:prstGeom>
            <a:gradFill rotWithShape="1">
              <a:gsLst>
                <a:gs pos="0">
                  <a:schemeClr val="bg1">
                    <a:alpha val="65000"/>
                  </a:schemeClr>
                </a:gs>
                <a:gs pos="100000">
                  <a:srgbClr val="67ABF5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kumimoji="0" lang="ko-KR" altLang="en-US">
                <a:latin typeface="Arial" pitchFamily="34" charset="0"/>
                <a:ea typeface="맑은 고딕" pitchFamily="50" charset="-127"/>
                <a:cs typeface="Arial" pitchFamily="34" charset="0"/>
              </a:endParaRPr>
            </a:p>
          </p:txBody>
        </p:sp>
        <p:sp>
          <p:nvSpPr>
            <p:cNvPr id="64" name="자유형 85"/>
            <p:cNvSpPr/>
            <p:nvPr/>
          </p:nvSpPr>
          <p:spPr>
            <a:xfrm rot="5398342">
              <a:off x="7881510" y="3366153"/>
              <a:ext cx="671794" cy="651781"/>
            </a:xfrm>
            <a:custGeom>
              <a:avLst/>
              <a:gdLst>
                <a:gd name="connsiteX0" fmla="*/ 0 w 1800225"/>
                <a:gd name="connsiteY0" fmla="*/ 1285875 h 1409700"/>
                <a:gd name="connsiteX1" fmla="*/ 723900 w 1800225"/>
                <a:gd name="connsiteY1" fmla="*/ 1409700 h 1409700"/>
                <a:gd name="connsiteX2" fmla="*/ 1800225 w 1800225"/>
                <a:gd name="connsiteY2" fmla="*/ 428625 h 1409700"/>
                <a:gd name="connsiteX3" fmla="*/ 1323975 w 1800225"/>
                <a:gd name="connsiteY3" fmla="*/ 0 h 1409700"/>
                <a:gd name="connsiteX4" fmla="*/ 342900 w 1800225"/>
                <a:gd name="connsiteY4" fmla="*/ 419100 h 1409700"/>
                <a:gd name="connsiteX5" fmla="*/ 0 w 1800225"/>
                <a:gd name="connsiteY5" fmla="*/ 1285875 h 1409700"/>
                <a:gd name="connsiteX0" fmla="*/ 63500 w 1863725"/>
                <a:gd name="connsiteY0" fmla="*/ 1287462 h 1411287"/>
                <a:gd name="connsiteX1" fmla="*/ 787400 w 1863725"/>
                <a:gd name="connsiteY1" fmla="*/ 1411287 h 1411287"/>
                <a:gd name="connsiteX2" fmla="*/ 1863725 w 1863725"/>
                <a:gd name="connsiteY2" fmla="*/ 430212 h 1411287"/>
                <a:gd name="connsiteX3" fmla="*/ 1387475 w 1863725"/>
                <a:gd name="connsiteY3" fmla="*/ 1587 h 1411287"/>
                <a:gd name="connsiteX4" fmla="*/ 406400 w 1863725"/>
                <a:gd name="connsiteY4" fmla="*/ 420687 h 1411287"/>
                <a:gd name="connsiteX5" fmla="*/ 63500 w 1863725"/>
                <a:gd name="connsiteY5" fmla="*/ 1287462 h 1411287"/>
                <a:gd name="connsiteX0" fmla="*/ 63500 w 1963738"/>
                <a:gd name="connsiteY0" fmla="*/ 1287462 h 1411287"/>
                <a:gd name="connsiteX1" fmla="*/ 787400 w 1963738"/>
                <a:gd name="connsiteY1" fmla="*/ 1411287 h 1411287"/>
                <a:gd name="connsiteX2" fmla="*/ 1863725 w 1963738"/>
                <a:gd name="connsiteY2" fmla="*/ 430212 h 1411287"/>
                <a:gd name="connsiteX3" fmla="*/ 1387475 w 1963738"/>
                <a:gd name="connsiteY3" fmla="*/ 1587 h 1411287"/>
                <a:gd name="connsiteX4" fmla="*/ 406400 w 1963738"/>
                <a:gd name="connsiteY4" fmla="*/ 420687 h 1411287"/>
                <a:gd name="connsiteX5" fmla="*/ 63500 w 1963738"/>
                <a:gd name="connsiteY5" fmla="*/ 1287462 h 1411287"/>
                <a:gd name="connsiteX0" fmla="*/ 63500 w 1963738"/>
                <a:gd name="connsiteY0" fmla="*/ 1287462 h 1554162"/>
                <a:gd name="connsiteX1" fmla="*/ 787400 w 1963738"/>
                <a:gd name="connsiteY1" fmla="*/ 1411287 h 1554162"/>
                <a:gd name="connsiteX2" fmla="*/ 1863725 w 1963738"/>
                <a:gd name="connsiteY2" fmla="*/ 430212 h 1554162"/>
                <a:gd name="connsiteX3" fmla="*/ 1387475 w 1963738"/>
                <a:gd name="connsiteY3" fmla="*/ 1587 h 1554162"/>
                <a:gd name="connsiteX4" fmla="*/ 406400 w 1963738"/>
                <a:gd name="connsiteY4" fmla="*/ 420687 h 1554162"/>
                <a:gd name="connsiteX5" fmla="*/ 63500 w 1963738"/>
                <a:gd name="connsiteY5" fmla="*/ 1287462 h 1554162"/>
                <a:gd name="connsiteX0" fmla="*/ 63500 w 1963738"/>
                <a:gd name="connsiteY0" fmla="*/ 1287462 h 1554162"/>
                <a:gd name="connsiteX1" fmla="*/ 787400 w 1963738"/>
                <a:gd name="connsiteY1" fmla="*/ 1411287 h 1554162"/>
                <a:gd name="connsiteX2" fmla="*/ 1863725 w 1963738"/>
                <a:gd name="connsiteY2" fmla="*/ 430212 h 1554162"/>
                <a:gd name="connsiteX3" fmla="*/ 1387475 w 1963738"/>
                <a:gd name="connsiteY3" fmla="*/ 1587 h 1554162"/>
                <a:gd name="connsiteX4" fmla="*/ 406400 w 1963738"/>
                <a:gd name="connsiteY4" fmla="*/ 420687 h 1554162"/>
                <a:gd name="connsiteX5" fmla="*/ 63500 w 1963738"/>
                <a:gd name="connsiteY5" fmla="*/ 1287462 h 1554162"/>
                <a:gd name="connsiteX0" fmla="*/ 63500 w 1963738"/>
                <a:gd name="connsiteY0" fmla="*/ 1287462 h 1554162"/>
                <a:gd name="connsiteX1" fmla="*/ 787400 w 1963738"/>
                <a:gd name="connsiteY1" fmla="*/ 1411287 h 1554162"/>
                <a:gd name="connsiteX2" fmla="*/ 1863725 w 1963738"/>
                <a:gd name="connsiteY2" fmla="*/ 430212 h 1554162"/>
                <a:gd name="connsiteX3" fmla="*/ 1387475 w 1963738"/>
                <a:gd name="connsiteY3" fmla="*/ 1587 h 1554162"/>
                <a:gd name="connsiteX4" fmla="*/ 406400 w 1963738"/>
                <a:gd name="connsiteY4" fmla="*/ 420687 h 1554162"/>
                <a:gd name="connsiteX5" fmla="*/ 63500 w 1963738"/>
                <a:gd name="connsiteY5" fmla="*/ 1287462 h 1554162"/>
                <a:gd name="connsiteX0" fmla="*/ 41717 w 1963737"/>
                <a:gd name="connsiteY0" fmla="*/ 1287462 h 1689794"/>
                <a:gd name="connsiteX1" fmla="*/ 634920 w 1963737"/>
                <a:gd name="connsiteY1" fmla="*/ 1546919 h 1689794"/>
                <a:gd name="connsiteX2" fmla="*/ 1841942 w 1963737"/>
                <a:gd name="connsiteY2" fmla="*/ 430212 h 1689794"/>
                <a:gd name="connsiteX3" fmla="*/ 1365692 w 1963737"/>
                <a:gd name="connsiteY3" fmla="*/ 1587 h 1689794"/>
                <a:gd name="connsiteX4" fmla="*/ 384617 w 1963737"/>
                <a:gd name="connsiteY4" fmla="*/ 420687 h 1689794"/>
                <a:gd name="connsiteX5" fmla="*/ 41717 w 1963737"/>
                <a:gd name="connsiteY5" fmla="*/ 1287462 h 1689794"/>
                <a:gd name="connsiteX0" fmla="*/ 41717 w 1860992"/>
                <a:gd name="connsiteY0" fmla="*/ 1287462 h 1689794"/>
                <a:gd name="connsiteX1" fmla="*/ 634920 w 1860992"/>
                <a:gd name="connsiteY1" fmla="*/ 1546919 h 1689794"/>
                <a:gd name="connsiteX2" fmla="*/ 1479991 w 1860992"/>
                <a:gd name="connsiteY2" fmla="*/ 896937 h 1689794"/>
                <a:gd name="connsiteX3" fmla="*/ 1841942 w 1860992"/>
                <a:gd name="connsiteY3" fmla="*/ 430212 h 1689794"/>
                <a:gd name="connsiteX4" fmla="*/ 1365692 w 1860992"/>
                <a:gd name="connsiteY4" fmla="*/ 1587 h 1689794"/>
                <a:gd name="connsiteX5" fmla="*/ 384617 w 1860992"/>
                <a:gd name="connsiteY5" fmla="*/ 420687 h 1689794"/>
                <a:gd name="connsiteX6" fmla="*/ 41717 w 1860992"/>
                <a:gd name="connsiteY6" fmla="*/ 1287462 h 1689794"/>
                <a:gd name="connsiteX0" fmla="*/ 41717 w 1843724"/>
                <a:gd name="connsiteY0" fmla="*/ 1287462 h 1689794"/>
                <a:gd name="connsiteX1" fmla="*/ 634920 w 1843724"/>
                <a:gd name="connsiteY1" fmla="*/ 1546919 h 1689794"/>
                <a:gd name="connsiteX2" fmla="*/ 1355000 w 1843724"/>
                <a:gd name="connsiteY2" fmla="*/ 466799 h 1689794"/>
                <a:gd name="connsiteX3" fmla="*/ 1841942 w 1843724"/>
                <a:gd name="connsiteY3" fmla="*/ 430212 h 1689794"/>
                <a:gd name="connsiteX4" fmla="*/ 1365692 w 1843724"/>
                <a:gd name="connsiteY4" fmla="*/ 1587 h 1689794"/>
                <a:gd name="connsiteX5" fmla="*/ 384617 w 1843724"/>
                <a:gd name="connsiteY5" fmla="*/ 420687 h 1689794"/>
                <a:gd name="connsiteX6" fmla="*/ 41717 w 1843724"/>
                <a:gd name="connsiteY6" fmla="*/ 1287462 h 1689794"/>
                <a:gd name="connsiteX0" fmla="*/ 41717 w 1843724"/>
                <a:gd name="connsiteY0" fmla="*/ 1287462 h 1689794"/>
                <a:gd name="connsiteX1" fmla="*/ 634920 w 1843724"/>
                <a:gd name="connsiteY1" fmla="*/ 1546919 h 1689794"/>
                <a:gd name="connsiteX2" fmla="*/ 1355000 w 1843724"/>
                <a:gd name="connsiteY2" fmla="*/ 466799 h 1689794"/>
                <a:gd name="connsiteX3" fmla="*/ 1841942 w 1843724"/>
                <a:gd name="connsiteY3" fmla="*/ 430212 h 1689794"/>
                <a:gd name="connsiteX4" fmla="*/ 1365692 w 1843724"/>
                <a:gd name="connsiteY4" fmla="*/ 1587 h 1689794"/>
                <a:gd name="connsiteX5" fmla="*/ 384617 w 1843724"/>
                <a:gd name="connsiteY5" fmla="*/ 420687 h 1689794"/>
                <a:gd name="connsiteX6" fmla="*/ 41717 w 1843724"/>
                <a:gd name="connsiteY6" fmla="*/ 1287462 h 1689794"/>
                <a:gd name="connsiteX0" fmla="*/ 41717 w 1855725"/>
                <a:gd name="connsiteY0" fmla="*/ 1287462 h 1689794"/>
                <a:gd name="connsiteX1" fmla="*/ 634920 w 1855725"/>
                <a:gd name="connsiteY1" fmla="*/ 1546919 h 1689794"/>
                <a:gd name="connsiteX2" fmla="*/ 1282992 w 1855725"/>
                <a:gd name="connsiteY2" fmla="*/ 322783 h 1689794"/>
                <a:gd name="connsiteX3" fmla="*/ 1841942 w 1855725"/>
                <a:gd name="connsiteY3" fmla="*/ 430212 h 1689794"/>
                <a:gd name="connsiteX4" fmla="*/ 1365692 w 1855725"/>
                <a:gd name="connsiteY4" fmla="*/ 1587 h 1689794"/>
                <a:gd name="connsiteX5" fmla="*/ 384617 w 1855725"/>
                <a:gd name="connsiteY5" fmla="*/ 420687 h 1689794"/>
                <a:gd name="connsiteX6" fmla="*/ 41717 w 1855725"/>
                <a:gd name="connsiteY6" fmla="*/ 1287462 h 1689794"/>
                <a:gd name="connsiteX0" fmla="*/ 41717 w 1876164"/>
                <a:gd name="connsiteY0" fmla="*/ 1287462 h 1689794"/>
                <a:gd name="connsiteX1" fmla="*/ 634920 w 1876164"/>
                <a:gd name="connsiteY1" fmla="*/ 1546919 h 1689794"/>
                <a:gd name="connsiteX2" fmla="*/ 1571024 w 1876164"/>
                <a:gd name="connsiteY2" fmla="*/ 538807 h 1689794"/>
                <a:gd name="connsiteX3" fmla="*/ 1841942 w 1876164"/>
                <a:gd name="connsiteY3" fmla="*/ 430212 h 1689794"/>
                <a:gd name="connsiteX4" fmla="*/ 1365692 w 1876164"/>
                <a:gd name="connsiteY4" fmla="*/ 1587 h 1689794"/>
                <a:gd name="connsiteX5" fmla="*/ 384617 w 1876164"/>
                <a:gd name="connsiteY5" fmla="*/ 420687 h 1689794"/>
                <a:gd name="connsiteX6" fmla="*/ 41717 w 1876164"/>
                <a:gd name="connsiteY6" fmla="*/ 1287462 h 1689794"/>
                <a:gd name="connsiteX0" fmla="*/ 53718 w 1888165"/>
                <a:gd name="connsiteY0" fmla="*/ 1287462 h 1761802"/>
                <a:gd name="connsiteX1" fmla="*/ 718928 w 1888165"/>
                <a:gd name="connsiteY1" fmla="*/ 1618927 h 1761802"/>
                <a:gd name="connsiteX2" fmla="*/ 1583025 w 1888165"/>
                <a:gd name="connsiteY2" fmla="*/ 538807 h 1761802"/>
                <a:gd name="connsiteX3" fmla="*/ 1853943 w 1888165"/>
                <a:gd name="connsiteY3" fmla="*/ 430212 h 1761802"/>
                <a:gd name="connsiteX4" fmla="*/ 1377693 w 1888165"/>
                <a:gd name="connsiteY4" fmla="*/ 1587 h 1761802"/>
                <a:gd name="connsiteX5" fmla="*/ 396618 w 1888165"/>
                <a:gd name="connsiteY5" fmla="*/ 420687 h 1761802"/>
                <a:gd name="connsiteX6" fmla="*/ 53718 w 1888165"/>
                <a:gd name="connsiteY6" fmla="*/ 1287462 h 1761802"/>
                <a:gd name="connsiteX0" fmla="*/ 53718 w 1888165"/>
                <a:gd name="connsiteY0" fmla="*/ 1287462 h 1761802"/>
                <a:gd name="connsiteX1" fmla="*/ 718928 w 1888165"/>
                <a:gd name="connsiteY1" fmla="*/ 1618927 h 1761802"/>
                <a:gd name="connsiteX2" fmla="*/ 1583025 w 1888165"/>
                <a:gd name="connsiteY2" fmla="*/ 538807 h 1761802"/>
                <a:gd name="connsiteX3" fmla="*/ 1853943 w 1888165"/>
                <a:gd name="connsiteY3" fmla="*/ 430212 h 1761802"/>
                <a:gd name="connsiteX4" fmla="*/ 1377693 w 1888165"/>
                <a:gd name="connsiteY4" fmla="*/ 1587 h 1761802"/>
                <a:gd name="connsiteX5" fmla="*/ 396618 w 1888165"/>
                <a:gd name="connsiteY5" fmla="*/ 420687 h 1761802"/>
                <a:gd name="connsiteX6" fmla="*/ 53718 w 1888165"/>
                <a:gd name="connsiteY6" fmla="*/ 1287462 h 1761802"/>
                <a:gd name="connsiteX0" fmla="*/ 53718 w 1888165"/>
                <a:gd name="connsiteY0" fmla="*/ 1287462 h 1706006"/>
                <a:gd name="connsiteX1" fmla="*/ 718928 w 1888165"/>
                <a:gd name="connsiteY1" fmla="*/ 1618927 h 1706006"/>
                <a:gd name="connsiteX2" fmla="*/ 1583025 w 1888165"/>
                <a:gd name="connsiteY2" fmla="*/ 538807 h 1706006"/>
                <a:gd name="connsiteX3" fmla="*/ 1853943 w 1888165"/>
                <a:gd name="connsiteY3" fmla="*/ 430212 h 1706006"/>
                <a:gd name="connsiteX4" fmla="*/ 1377693 w 1888165"/>
                <a:gd name="connsiteY4" fmla="*/ 1587 h 1706006"/>
                <a:gd name="connsiteX5" fmla="*/ 396618 w 1888165"/>
                <a:gd name="connsiteY5" fmla="*/ 420687 h 1706006"/>
                <a:gd name="connsiteX6" fmla="*/ 53718 w 1888165"/>
                <a:gd name="connsiteY6" fmla="*/ 1287462 h 1706006"/>
                <a:gd name="connsiteX0" fmla="*/ 53718 w 1888165"/>
                <a:gd name="connsiteY0" fmla="*/ 1287462 h 1618927"/>
                <a:gd name="connsiteX1" fmla="*/ 718928 w 1888165"/>
                <a:gd name="connsiteY1" fmla="*/ 1618927 h 1618927"/>
                <a:gd name="connsiteX2" fmla="*/ 1583025 w 1888165"/>
                <a:gd name="connsiteY2" fmla="*/ 538807 h 1618927"/>
                <a:gd name="connsiteX3" fmla="*/ 1853943 w 1888165"/>
                <a:gd name="connsiteY3" fmla="*/ 430212 h 1618927"/>
                <a:gd name="connsiteX4" fmla="*/ 1377693 w 1888165"/>
                <a:gd name="connsiteY4" fmla="*/ 1587 h 1618927"/>
                <a:gd name="connsiteX5" fmla="*/ 396618 w 1888165"/>
                <a:gd name="connsiteY5" fmla="*/ 420687 h 1618927"/>
                <a:gd name="connsiteX6" fmla="*/ 53718 w 1888165"/>
                <a:gd name="connsiteY6" fmla="*/ 1287462 h 1618927"/>
                <a:gd name="connsiteX0" fmla="*/ 5223 w 1839670"/>
                <a:gd name="connsiteY0" fmla="*/ 1287462 h 1780287"/>
                <a:gd name="connsiteX1" fmla="*/ 379464 w 1839670"/>
                <a:gd name="connsiteY1" fmla="*/ 1506969 h 1780287"/>
                <a:gd name="connsiteX2" fmla="*/ 670433 w 1839670"/>
                <a:gd name="connsiteY2" fmla="*/ 1618927 h 1780287"/>
                <a:gd name="connsiteX3" fmla="*/ 1534530 w 1839670"/>
                <a:gd name="connsiteY3" fmla="*/ 538807 h 1780287"/>
                <a:gd name="connsiteX4" fmla="*/ 1805448 w 1839670"/>
                <a:gd name="connsiteY4" fmla="*/ 430212 h 1780287"/>
                <a:gd name="connsiteX5" fmla="*/ 1329198 w 1839670"/>
                <a:gd name="connsiteY5" fmla="*/ 1587 h 1780287"/>
                <a:gd name="connsiteX6" fmla="*/ 348123 w 1839670"/>
                <a:gd name="connsiteY6" fmla="*/ 420687 h 1780287"/>
                <a:gd name="connsiteX7" fmla="*/ 5223 w 1839670"/>
                <a:gd name="connsiteY7" fmla="*/ 1287462 h 1780287"/>
                <a:gd name="connsiteX0" fmla="*/ 500 w 1834947"/>
                <a:gd name="connsiteY0" fmla="*/ 1287462 h 1780287"/>
                <a:gd name="connsiteX1" fmla="*/ 346402 w 1834947"/>
                <a:gd name="connsiteY1" fmla="*/ 1405350 h 1780287"/>
                <a:gd name="connsiteX2" fmla="*/ 665710 w 1834947"/>
                <a:gd name="connsiteY2" fmla="*/ 1618927 h 1780287"/>
                <a:gd name="connsiteX3" fmla="*/ 1529807 w 1834947"/>
                <a:gd name="connsiteY3" fmla="*/ 538807 h 1780287"/>
                <a:gd name="connsiteX4" fmla="*/ 1800725 w 1834947"/>
                <a:gd name="connsiteY4" fmla="*/ 430212 h 1780287"/>
                <a:gd name="connsiteX5" fmla="*/ 1324475 w 1834947"/>
                <a:gd name="connsiteY5" fmla="*/ 1587 h 1780287"/>
                <a:gd name="connsiteX6" fmla="*/ 343400 w 1834947"/>
                <a:gd name="connsiteY6" fmla="*/ 420687 h 1780287"/>
                <a:gd name="connsiteX7" fmla="*/ 500 w 1834947"/>
                <a:gd name="connsiteY7" fmla="*/ 1287462 h 1780287"/>
                <a:gd name="connsiteX0" fmla="*/ 500 w 1834947"/>
                <a:gd name="connsiteY0" fmla="*/ 1287462 h 1780287"/>
                <a:gd name="connsiteX1" fmla="*/ 346402 w 1834947"/>
                <a:gd name="connsiteY1" fmla="*/ 1405350 h 1780287"/>
                <a:gd name="connsiteX2" fmla="*/ 665710 w 1834947"/>
                <a:gd name="connsiteY2" fmla="*/ 1618927 h 1780287"/>
                <a:gd name="connsiteX3" fmla="*/ 1529807 w 1834947"/>
                <a:gd name="connsiteY3" fmla="*/ 538807 h 1780287"/>
                <a:gd name="connsiteX4" fmla="*/ 1800725 w 1834947"/>
                <a:gd name="connsiteY4" fmla="*/ 430212 h 1780287"/>
                <a:gd name="connsiteX5" fmla="*/ 1324475 w 1834947"/>
                <a:gd name="connsiteY5" fmla="*/ 1587 h 1780287"/>
                <a:gd name="connsiteX6" fmla="*/ 343400 w 1834947"/>
                <a:gd name="connsiteY6" fmla="*/ 420687 h 1780287"/>
                <a:gd name="connsiteX7" fmla="*/ 500 w 1834947"/>
                <a:gd name="connsiteY7" fmla="*/ 1287462 h 1780287"/>
                <a:gd name="connsiteX0" fmla="*/ 500 w 1834947"/>
                <a:gd name="connsiteY0" fmla="*/ 1287462 h 1780287"/>
                <a:gd name="connsiteX1" fmla="*/ 346402 w 1834947"/>
                <a:gd name="connsiteY1" fmla="*/ 1405350 h 1780287"/>
                <a:gd name="connsiteX2" fmla="*/ 665710 w 1834947"/>
                <a:gd name="connsiteY2" fmla="*/ 1618927 h 1780287"/>
                <a:gd name="connsiteX3" fmla="*/ 1529807 w 1834947"/>
                <a:gd name="connsiteY3" fmla="*/ 538807 h 1780287"/>
                <a:gd name="connsiteX4" fmla="*/ 1800725 w 1834947"/>
                <a:gd name="connsiteY4" fmla="*/ 430212 h 1780287"/>
                <a:gd name="connsiteX5" fmla="*/ 1324475 w 1834947"/>
                <a:gd name="connsiteY5" fmla="*/ 1587 h 1780287"/>
                <a:gd name="connsiteX6" fmla="*/ 343400 w 1834947"/>
                <a:gd name="connsiteY6" fmla="*/ 420687 h 1780287"/>
                <a:gd name="connsiteX7" fmla="*/ 500 w 1834947"/>
                <a:gd name="connsiteY7" fmla="*/ 1287462 h 178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34947" h="1780287">
                  <a:moveTo>
                    <a:pt x="500" y="1287462"/>
                  </a:moveTo>
                  <a:cubicBezTo>
                    <a:pt x="1000" y="1451572"/>
                    <a:pt x="235534" y="1350106"/>
                    <a:pt x="346402" y="1405350"/>
                  </a:cubicBezTo>
                  <a:cubicBezTo>
                    <a:pt x="457270" y="1460594"/>
                    <a:pt x="473199" y="1780287"/>
                    <a:pt x="665710" y="1618927"/>
                  </a:cubicBezTo>
                  <a:cubicBezTo>
                    <a:pt x="905422" y="1553840"/>
                    <a:pt x="1238695" y="627021"/>
                    <a:pt x="1529807" y="538807"/>
                  </a:cubicBezTo>
                  <a:cubicBezTo>
                    <a:pt x="1820919" y="450593"/>
                    <a:pt x="1834947" y="519749"/>
                    <a:pt x="1800725" y="430212"/>
                  </a:cubicBezTo>
                  <a:cubicBezTo>
                    <a:pt x="1766503" y="340675"/>
                    <a:pt x="1567362" y="3174"/>
                    <a:pt x="1324475" y="1587"/>
                  </a:cubicBezTo>
                  <a:cubicBezTo>
                    <a:pt x="1081588" y="0"/>
                    <a:pt x="564063" y="206375"/>
                    <a:pt x="343400" y="420687"/>
                  </a:cubicBezTo>
                  <a:cubicBezTo>
                    <a:pt x="122738" y="635000"/>
                    <a:pt x="0" y="1123352"/>
                    <a:pt x="500" y="1287462"/>
                  </a:cubicBezTo>
                  <a:close/>
                </a:path>
              </a:pathLst>
            </a:custGeom>
            <a:gradFill flip="none" rotWithShape="1">
              <a:gsLst>
                <a:gs pos="74000">
                  <a:schemeClr val="bg1">
                    <a:alpha val="19000"/>
                  </a:schemeClr>
                </a:gs>
                <a:gs pos="50000">
                  <a:schemeClr val="bg1">
                    <a:alpha val="0"/>
                  </a:schemeClr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7583622" y="3653921"/>
              <a:ext cx="90010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20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2014</a:t>
              </a:r>
              <a:endParaRPr lang="ko-KR" altLang="en-US" sz="2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91" name="Group 90"/>
          <p:cNvGrpSpPr/>
          <p:nvPr/>
        </p:nvGrpSpPr>
        <p:grpSpPr>
          <a:xfrm>
            <a:off x="6133751" y="3341037"/>
            <a:ext cx="1060684" cy="1060686"/>
            <a:chOff x="7499374" y="3309532"/>
            <a:chExt cx="1060684" cy="1060686"/>
          </a:xfrm>
        </p:grpSpPr>
        <p:sp>
          <p:nvSpPr>
            <p:cNvPr id="92" name="타원 37"/>
            <p:cNvSpPr/>
            <p:nvPr/>
          </p:nvSpPr>
          <p:spPr>
            <a:xfrm>
              <a:off x="7534704" y="3355008"/>
              <a:ext cx="997937" cy="997937"/>
            </a:xfrm>
            <a:prstGeom prst="ellipse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ko-KR" altLang="en-US" sz="16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3" name="타원 82"/>
            <p:cNvSpPr/>
            <p:nvPr/>
          </p:nvSpPr>
          <p:spPr>
            <a:xfrm>
              <a:off x="7499374" y="3309532"/>
              <a:ext cx="1060684" cy="1060686"/>
            </a:xfrm>
            <a:prstGeom prst="ellipse">
              <a:avLst/>
            </a:prstGeom>
            <a:gradFill flip="none" rotWithShape="1">
              <a:gsLst>
                <a:gs pos="62000">
                  <a:schemeClr val="bg1">
                    <a:alpha val="0"/>
                  </a:schemeClr>
                </a:gs>
                <a:gs pos="4500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solidFill>
                <a:schemeClr val="bg1"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4" name="Oval 28"/>
            <p:cNvSpPr>
              <a:spLocks noChangeArrowheads="1"/>
            </p:cNvSpPr>
            <p:nvPr/>
          </p:nvSpPr>
          <p:spPr bwMode="auto">
            <a:xfrm flipH="1">
              <a:off x="7613472" y="3418805"/>
              <a:ext cx="336254" cy="301391"/>
            </a:xfrm>
            <a:prstGeom prst="ellipse">
              <a:avLst/>
            </a:prstGeom>
            <a:gradFill rotWithShape="1">
              <a:gsLst>
                <a:gs pos="0">
                  <a:schemeClr val="bg1">
                    <a:alpha val="65000"/>
                  </a:schemeClr>
                </a:gs>
                <a:gs pos="100000">
                  <a:srgbClr val="67ABF5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kumimoji="0" lang="ko-KR" altLang="en-US">
                <a:latin typeface="Arial" pitchFamily="34" charset="0"/>
                <a:ea typeface="맑은 고딕" pitchFamily="50" charset="-127"/>
                <a:cs typeface="Arial" pitchFamily="34" charset="0"/>
              </a:endParaRPr>
            </a:p>
          </p:txBody>
        </p:sp>
        <p:sp>
          <p:nvSpPr>
            <p:cNvPr id="95" name="자유형 85"/>
            <p:cNvSpPr/>
            <p:nvPr/>
          </p:nvSpPr>
          <p:spPr>
            <a:xfrm rot="5398342">
              <a:off x="7881510" y="3366153"/>
              <a:ext cx="671794" cy="651781"/>
            </a:xfrm>
            <a:custGeom>
              <a:avLst/>
              <a:gdLst>
                <a:gd name="connsiteX0" fmla="*/ 0 w 1800225"/>
                <a:gd name="connsiteY0" fmla="*/ 1285875 h 1409700"/>
                <a:gd name="connsiteX1" fmla="*/ 723900 w 1800225"/>
                <a:gd name="connsiteY1" fmla="*/ 1409700 h 1409700"/>
                <a:gd name="connsiteX2" fmla="*/ 1800225 w 1800225"/>
                <a:gd name="connsiteY2" fmla="*/ 428625 h 1409700"/>
                <a:gd name="connsiteX3" fmla="*/ 1323975 w 1800225"/>
                <a:gd name="connsiteY3" fmla="*/ 0 h 1409700"/>
                <a:gd name="connsiteX4" fmla="*/ 342900 w 1800225"/>
                <a:gd name="connsiteY4" fmla="*/ 419100 h 1409700"/>
                <a:gd name="connsiteX5" fmla="*/ 0 w 1800225"/>
                <a:gd name="connsiteY5" fmla="*/ 1285875 h 1409700"/>
                <a:gd name="connsiteX0" fmla="*/ 63500 w 1863725"/>
                <a:gd name="connsiteY0" fmla="*/ 1287462 h 1411287"/>
                <a:gd name="connsiteX1" fmla="*/ 787400 w 1863725"/>
                <a:gd name="connsiteY1" fmla="*/ 1411287 h 1411287"/>
                <a:gd name="connsiteX2" fmla="*/ 1863725 w 1863725"/>
                <a:gd name="connsiteY2" fmla="*/ 430212 h 1411287"/>
                <a:gd name="connsiteX3" fmla="*/ 1387475 w 1863725"/>
                <a:gd name="connsiteY3" fmla="*/ 1587 h 1411287"/>
                <a:gd name="connsiteX4" fmla="*/ 406400 w 1863725"/>
                <a:gd name="connsiteY4" fmla="*/ 420687 h 1411287"/>
                <a:gd name="connsiteX5" fmla="*/ 63500 w 1863725"/>
                <a:gd name="connsiteY5" fmla="*/ 1287462 h 1411287"/>
                <a:gd name="connsiteX0" fmla="*/ 63500 w 1963738"/>
                <a:gd name="connsiteY0" fmla="*/ 1287462 h 1411287"/>
                <a:gd name="connsiteX1" fmla="*/ 787400 w 1963738"/>
                <a:gd name="connsiteY1" fmla="*/ 1411287 h 1411287"/>
                <a:gd name="connsiteX2" fmla="*/ 1863725 w 1963738"/>
                <a:gd name="connsiteY2" fmla="*/ 430212 h 1411287"/>
                <a:gd name="connsiteX3" fmla="*/ 1387475 w 1963738"/>
                <a:gd name="connsiteY3" fmla="*/ 1587 h 1411287"/>
                <a:gd name="connsiteX4" fmla="*/ 406400 w 1963738"/>
                <a:gd name="connsiteY4" fmla="*/ 420687 h 1411287"/>
                <a:gd name="connsiteX5" fmla="*/ 63500 w 1963738"/>
                <a:gd name="connsiteY5" fmla="*/ 1287462 h 1411287"/>
                <a:gd name="connsiteX0" fmla="*/ 63500 w 1963738"/>
                <a:gd name="connsiteY0" fmla="*/ 1287462 h 1554162"/>
                <a:gd name="connsiteX1" fmla="*/ 787400 w 1963738"/>
                <a:gd name="connsiteY1" fmla="*/ 1411287 h 1554162"/>
                <a:gd name="connsiteX2" fmla="*/ 1863725 w 1963738"/>
                <a:gd name="connsiteY2" fmla="*/ 430212 h 1554162"/>
                <a:gd name="connsiteX3" fmla="*/ 1387475 w 1963738"/>
                <a:gd name="connsiteY3" fmla="*/ 1587 h 1554162"/>
                <a:gd name="connsiteX4" fmla="*/ 406400 w 1963738"/>
                <a:gd name="connsiteY4" fmla="*/ 420687 h 1554162"/>
                <a:gd name="connsiteX5" fmla="*/ 63500 w 1963738"/>
                <a:gd name="connsiteY5" fmla="*/ 1287462 h 1554162"/>
                <a:gd name="connsiteX0" fmla="*/ 63500 w 1963738"/>
                <a:gd name="connsiteY0" fmla="*/ 1287462 h 1554162"/>
                <a:gd name="connsiteX1" fmla="*/ 787400 w 1963738"/>
                <a:gd name="connsiteY1" fmla="*/ 1411287 h 1554162"/>
                <a:gd name="connsiteX2" fmla="*/ 1863725 w 1963738"/>
                <a:gd name="connsiteY2" fmla="*/ 430212 h 1554162"/>
                <a:gd name="connsiteX3" fmla="*/ 1387475 w 1963738"/>
                <a:gd name="connsiteY3" fmla="*/ 1587 h 1554162"/>
                <a:gd name="connsiteX4" fmla="*/ 406400 w 1963738"/>
                <a:gd name="connsiteY4" fmla="*/ 420687 h 1554162"/>
                <a:gd name="connsiteX5" fmla="*/ 63500 w 1963738"/>
                <a:gd name="connsiteY5" fmla="*/ 1287462 h 1554162"/>
                <a:gd name="connsiteX0" fmla="*/ 63500 w 1963738"/>
                <a:gd name="connsiteY0" fmla="*/ 1287462 h 1554162"/>
                <a:gd name="connsiteX1" fmla="*/ 787400 w 1963738"/>
                <a:gd name="connsiteY1" fmla="*/ 1411287 h 1554162"/>
                <a:gd name="connsiteX2" fmla="*/ 1863725 w 1963738"/>
                <a:gd name="connsiteY2" fmla="*/ 430212 h 1554162"/>
                <a:gd name="connsiteX3" fmla="*/ 1387475 w 1963738"/>
                <a:gd name="connsiteY3" fmla="*/ 1587 h 1554162"/>
                <a:gd name="connsiteX4" fmla="*/ 406400 w 1963738"/>
                <a:gd name="connsiteY4" fmla="*/ 420687 h 1554162"/>
                <a:gd name="connsiteX5" fmla="*/ 63500 w 1963738"/>
                <a:gd name="connsiteY5" fmla="*/ 1287462 h 1554162"/>
                <a:gd name="connsiteX0" fmla="*/ 41717 w 1963737"/>
                <a:gd name="connsiteY0" fmla="*/ 1287462 h 1689794"/>
                <a:gd name="connsiteX1" fmla="*/ 634920 w 1963737"/>
                <a:gd name="connsiteY1" fmla="*/ 1546919 h 1689794"/>
                <a:gd name="connsiteX2" fmla="*/ 1841942 w 1963737"/>
                <a:gd name="connsiteY2" fmla="*/ 430212 h 1689794"/>
                <a:gd name="connsiteX3" fmla="*/ 1365692 w 1963737"/>
                <a:gd name="connsiteY3" fmla="*/ 1587 h 1689794"/>
                <a:gd name="connsiteX4" fmla="*/ 384617 w 1963737"/>
                <a:gd name="connsiteY4" fmla="*/ 420687 h 1689794"/>
                <a:gd name="connsiteX5" fmla="*/ 41717 w 1963737"/>
                <a:gd name="connsiteY5" fmla="*/ 1287462 h 1689794"/>
                <a:gd name="connsiteX0" fmla="*/ 41717 w 1860992"/>
                <a:gd name="connsiteY0" fmla="*/ 1287462 h 1689794"/>
                <a:gd name="connsiteX1" fmla="*/ 634920 w 1860992"/>
                <a:gd name="connsiteY1" fmla="*/ 1546919 h 1689794"/>
                <a:gd name="connsiteX2" fmla="*/ 1479991 w 1860992"/>
                <a:gd name="connsiteY2" fmla="*/ 896937 h 1689794"/>
                <a:gd name="connsiteX3" fmla="*/ 1841942 w 1860992"/>
                <a:gd name="connsiteY3" fmla="*/ 430212 h 1689794"/>
                <a:gd name="connsiteX4" fmla="*/ 1365692 w 1860992"/>
                <a:gd name="connsiteY4" fmla="*/ 1587 h 1689794"/>
                <a:gd name="connsiteX5" fmla="*/ 384617 w 1860992"/>
                <a:gd name="connsiteY5" fmla="*/ 420687 h 1689794"/>
                <a:gd name="connsiteX6" fmla="*/ 41717 w 1860992"/>
                <a:gd name="connsiteY6" fmla="*/ 1287462 h 1689794"/>
                <a:gd name="connsiteX0" fmla="*/ 41717 w 1843724"/>
                <a:gd name="connsiteY0" fmla="*/ 1287462 h 1689794"/>
                <a:gd name="connsiteX1" fmla="*/ 634920 w 1843724"/>
                <a:gd name="connsiteY1" fmla="*/ 1546919 h 1689794"/>
                <a:gd name="connsiteX2" fmla="*/ 1355000 w 1843724"/>
                <a:gd name="connsiteY2" fmla="*/ 466799 h 1689794"/>
                <a:gd name="connsiteX3" fmla="*/ 1841942 w 1843724"/>
                <a:gd name="connsiteY3" fmla="*/ 430212 h 1689794"/>
                <a:gd name="connsiteX4" fmla="*/ 1365692 w 1843724"/>
                <a:gd name="connsiteY4" fmla="*/ 1587 h 1689794"/>
                <a:gd name="connsiteX5" fmla="*/ 384617 w 1843724"/>
                <a:gd name="connsiteY5" fmla="*/ 420687 h 1689794"/>
                <a:gd name="connsiteX6" fmla="*/ 41717 w 1843724"/>
                <a:gd name="connsiteY6" fmla="*/ 1287462 h 1689794"/>
                <a:gd name="connsiteX0" fmla="*/ 41717 w 1843724"/>
                <a:gd name="connsiteY0" fmla="*/ 1287462 h 1689794"/>
                <a:gd name="connsiteX1" fmla="*/ 634920 w 1843724"/>
                <a:gd name="connsiteY1" fmla="*/ 1546919 h 1689794"/>
                <a:gd name="connsiteX2" fmla="*/ 1355000 w 1843724"/>
                <a:gd name="connsiteY2" fmla="*/ 466799 h 1689794"/>
                <a:gd name="connsiteX3" fmla="*/ 1841942 w 1843724"/>
                <a:gd name="connsiteY3" fmla="*/ 430212 h 1689794"/>
                <a:gd name="connsiteX4" fmla="*/ 1365692 w 1843724"/>
                <a:gd name="connsiteY4" fmla="*/ 1587 h 1689794"/>
                <a:gd name="connsiteX5" fmla="*/ 384617 w 1843724"/>
                <a:gd name="connsiteY5" fmla="*/ 420687 h 1689794"/>
                <a:gd name="connsiteX6" fmla="*/ 41717 w 1843724"/>
                <a:gd name="connsiteY6" fmla="*/ 1287462 h 1689794"/>
                <a:gd name="connsiteX0" fmla="*/ 41717 w 1855725"/>
                <a:gd name="connsiteY0" fmla="*/ 1287462 h 1689794"/>
                <a:gd name="connsiteX1" fmla="*/ 634920 w 1855725"/>
                <a:gd name="connsiteY1" fmla="*/ 1546919 h 1689794"/>
                <a:gd name="connsiteX2" fmla="*/ 1282992 w 1855725"/>
                <a:gd name="connsiteY2" fmla="*/ 322783 h 1689794"/>
                <a:gd name="connsiteX3" fmla="*/ 1841942 w 1855725"/>
                <a:gd name="connsiteY3" fmla="*/ 430212 h 1689794"/>
                <a:gd name="connsiteX4" fmla="*/ 1365692 w 1855725"/>
                <a:gd name="connsiteY4" fmla="*/ 1587 h 1689794"/>
                <a:gd name="connsiteX5" fmla="*/ 384617 w 1855725"/>
                <a:gd name="connsiteY5" fmla="*/ 420687 h 1689794"/>
                <a:gd name="connsiteX6" fmla="*/ 41717 w 1855725"/>
                <a:gd name="connsiteY6" fmla="*/ 1287462 h 1689794"/>
                <a:gd name="connsiteX0" fmla="*/ 41717 w 1876164"/>
                <a:gd name="connsiteY0" fmla="*/ 1287462 h 1689794"/>
                <a:gd name="connsiteX1" fmla="*/ 634920 w 1876164"/>
                <a:gd name="connsiteY1" fmla="*/ 1546919 h 1689794"/>
                <a:gd name="connsiteX2" fmla="*/ 1571024 w 1876164"/>
                <a:gd name="connsiteY2" fmla="*/ 538807 h 1689794"/>
                <a:gd name="connsiteX3" fmla="*/ 1841942 w 1876164"/>
                <a:gd name="connsiteY3" fmla="*/ 430212 h 1689794"/>
                <a:gd name="connsiteX4" fmla="*/ 1365692 w 1876164"/>
                <a:gd name="connsiteY4" fmla="*/ 1587 h 1689794"/>
                <a:gd name="connsiteX5" fmla="*/ 384617 w 1876164"/>
                <a:gd name="connsiteY5" fmla="*/ 420687 h 1689794"/>
                <a:gd name="connsiteX6" fmla="*/ 41717 w 1876164"/>
                <a:gd name="connsiteY6" fmla="*/ 1287462 h 1689794"/>
                <a:gd name="connsiteX0" fmla="*/ 53718 w 1888165"/>
                <a:gd name="connsiteY0" fmla="*/ 1287462 h 1761802"/>
                <a:gd name="connsiteX1" fmla="*/ 718928 w 1888165"/>
                <a:gd name="connsiteY1" fmla="*/ 1618927 h 1761802"/>
                <a:gd name="connsiteX2" fmla="*/ 1583025 w 1888165"/>
                <a:gd name="connsiteY2" fmla="*/ 538807 h 1761802"/>
                <a:gd name="connsiteX3" fmla="*/ 1853943 w 1888165"/>
                <a:gd name="connsiteY3" fmla="*/ 430212 h 1761802"/>
                <a:gd name="connsiteX4" fmla="*/ 1377693 w 1888165"/>
                <a:gd name="connsiteY4" fmla="*/ 1587 h 1761802"/>
                <a:gd name="connsiteX5" fmla="*/ 396618 w 1888165"/>
                <a:gd name="connsiteY5" fmla="*/ 420687 h 1761802"/>
                <a:gd name="connsiteX6" fmla="*/ 53718 w 1888165"/>
                <a:gd name="connsiteY6" fmla="*/ 1287462 h 1761802"/>
                <a:gd name="connsiteX0" fmla="*/ 53718 w 1888165"/>
                <a:gd name="connsiteY0" fmla="*/ 1287462 h 1761802"/>
                <a:gd name="connsiteX1" fmla="*/ 718928 w 1888165"/>
                <a:gd name="connsiteY1" fmla="*/ 1618927 h 1761802"/>
                <a:gd name="connsiteX2" fmla="*/ 1583025 w 1888165"/>
                <a:gd name="connsiteY2" fmla="*/ 538807 h 1761802"/>
                <a:gd name="connsiteX3" fmla="*/ 1853943 w 1888165"/>
                <a:gd name="connsiteY3" fmla="*/ 430212 h 1761802"/>
                <a:gd name="connsiteX4" fmla="*/ 1377693 w 1888165"/>
                <a:gd name="connsiteY4" fmla="*/ 1587 h 1761802"/>
                <a:gd name="connsiteX5" fmla="*/ 396618 w 1888165"/>
                <a:gd name="connsiteY5" fmla="*/ 420687 h 1761802"/>
                <a:gd name="connsiteX6" fmla="*/ 53718 w 1888165"/>
                <a:gd name="connsiteY6" fmla="*/ 1287462 h 1761802"/>
                <a:gd name="connsiteX0" fmla="*/ 53718 w 1888165"/>
                <a:gd name="connsiteY0" fmla="*/ 1287462 h 1706006"/>
                <a:gd name="connsiteX1" fmla="*/ 718928 w 1888165"/>
                <a:gd name="connsiteY1" fmla="*/ 1618927 h 1706006"/>
                <a:gd name="connsiteX2" fmla="*/ 1583025 w 1888165"/>
                <a:gd name="connsiteY2" fmla="*/ 538807 h 1706006"/>
                <a:gd name="connsiteX3" fmla="*/ 1853943 w 1888165"/>
                <a:gd name="connsiteY3" fmla="*/ 430212 h 1706006"/>
                <a:gd name="connsiteX4" fmla="*/ 1377693 w 1888165"/>
                <a:gd name="connsiteY4" fmla="*/ 1587 h 1706006"/>
                <a:gd name="connsiteX5" fmla="*/ 396618 w 1888165"/>
                <a:gd name="connsiteY5" fmla="*/ 420687 h 1706006"/>
                <a:gd name="connsiteX6" fmla="*/ 53718 w 1888165"/>
                <a:gd name="connsiteY6" fmla="*/ 1287462 h 1706006"/>
                <a:gd name="connsiteX0" fmla="*/ 53718 w 1888165"/>
                <a:gd name="connsiteY0" fmla="*/ 1287462 h 1618927"/>
                <a:gd name="connsiteX1" fmla="*/ 718928 w 1888165"/>
                <a:gd name="connsiteY1" fmla="*/ 1618927 h 1618927"/>
                <a:gd name="connsiteX2" fmla="*/ 1583025 w 1888165"/>
                <a:gd name="connsiteY2" fmla="*/ 538807 h 1618927"/>
                <a:gd name="connsiteX3" fmla="*/ 1853943 w 1888165"/>
                <a:gd name="connsiteY3" fmla="*/ 430212 h 1618927"/>
                <a:gd name="connsiteX4" fmla="*/ 1377693 w 1888165"/>
                <a:gd name="connsiteY4" fmla="*/ 1587 h 1618927"/>
                <a:gd name="connsiteX5" fmla="*/ 396618 w 1888165"/>
                <a:gd name="connsiteY5" fmla="*/ 420687 h 1618927"/>
                <a:gd name="connsiteX6" fmla="*/ 53718 w 1888165"/>
                <a:gd name="connsiteY6" fmla="*/ 1287462 h 1618927"/>
                <a:gd name="connsiteX0" fmla="*/ 5223 w 1839670"/>
                <a:gd name="connsiteY0" fmla="*/ 1287462 h 1780287"/>
                <a:gd name="connsiteX1" fmla="*/ 379464 w 1839670"/>
                <a:gd name="connsiteY1" fmla="*/ 1506969 h 1780287"/>
                <a:gd name="connsiteX2" fmla="*/ 670433 w 1839670"/>
                <a:gd name="connsiteY2" fmla="*/ 1618927 h 1780287"/>
                <a:gd name="connsiteX3" fmla="*/ 1534530 w 1839670"/>
                <a:gd name="connsiteY3" fmla="*/ 538807 h 1780287"/>
                <a:gd name="connsiteX4" fmla="*/ 1805448 w 1839670"/>
                <a:gd name="connsiteY4" fmla="*/ 430212 h 1780287"/>
                <a:gd name="connsiteX5" fmla="*/ 1329198 w 1839670"/>
                <a:gd name="connsiteY5" fmla="*/ 1587 h 1780287"/>
                <a:gd name="connsiteX6" fmla="*/ 348123 w 1839670"/>
                <a:gd name="connsiteY6" fmla="*/ 420687 h 1780287"/>
                <a:gd name="connsiteX7" fmla="*/ 5223 w 1839670"/>
                <a:gd name="connsiteY7" fmla="*/ 1287462 h 1780287"/>
                <a:gd name="connsiteX0" fmla="*/ 500 w 1834947"/>
                <a:gd name="connsiteY0" fmla="*/ 1287462 h 1780287"/>
                <a:gd name="connsiteX1" fmla="*/ 346402 w 1834947"/>
                <a:gd name="connsiteY1" fmla="*/ 1405350 h 1780287"/>
                <a:gd name="connsiteX2" fmla="*/ 665710 w 1834947"/>
                <a:gd name="connsiteY2" fmla="*/ 1618927 h 1780287"/>
                <a:gd name="connsiteX3" fmla="*/ 1529807 w 1834947"/>
                <a:gd name="connsiteY3" fmla="*/ 538807 h 1780287"/>
                <a:gd name="connsiteX4" fmla="*/ 1800725 w 1834947"/>
                <a:gd name="connsiteY4" fmla="*/ 430212 h 1780287"/>
                <a:gd name="connsiteX5" fmla="*/ 1324475 w 1834947"/>
                <a:gd name="connsiteY5" fmla="*/ 1587 h 1780287"/>
                <a:gd name="connsiteX6" fmla="*/ 343400 w 1834947"/>
                <a:gd name="connsiteY6" fmla="*/ 420687 h 1780287"/>
                <a:gd name="connsiteX7" fmla="*/ 500 w 1834947"/>
                <a:gd name="connsiteY7" fmla="*/ 1287462 h 1780287"/>
                <a:gd name="connsiteX0" fmla="*/ 500 w 1834947"/>
                <a:gd name="connsiteY0" fmla="*/ 1287462 h 1780287"/>
                <a:gd name="connsiteX1" fmla="*/ 346402 w 1834947"/>
                <a:gd name="connsiteY1" fmla="*/ 1405350 h 1780287"/>
                <a:gd name="connsiteX2" fmla="*/ 665710 w 1834947"/>
                <a:gd name="connsiteY2" fmla="*/ 1618927 h 1780287"/>
                <a:gd name="connsiteX3" fmla="*/ 1529807 w 1834947"/>
                <a:gd name="connsiteY3" fmla="*/ 538807 h 1780287"/>
                <a:gd name="connsiteX4" fmla="*/ 1800725 w 1834947"/>
                <a:gd name="connsiteY4" fmla="*/ 430212 h 1780287"/>
                <a:gd name="connsiteX5" fmla="*/ 1324475 w 1834947"/>
                <a:gd name="connsiteY5" fmla="*/ 1587 h 1780287"/>
                <a:gd name="connsiteX6" fmla="*/ 343400 w 1834947"/>
                <a:gd name="connsiteY6" fmla="*/ 420687 h 1780287"/>
                <a:gd name="connsiteX7" fmla="*/ 500 w 1834947"/>
                <a:gd name="connsiteY7" fmla="*/ 1287462 h 1780287"/>
                <a:gd name="connsiteX0" fmla="*/ 500 w 1834947"/>
                <a:gd name="connsiteY0" fmla="*/ 1287462 h 1780287"/>
                <a:gd name="connsiteX1" fmla="*/ 346402 w 1834947"/>
                <a:gd name="connsiteY1" fmla="*/ 1405350 h 1780287"/>
                <a:gd name="connsiteX2" fmla="*/ 665710 w 1834947"/>
                <a:gd name="connsiteY2" fmla="*/ 1618927 h 1780287"/>
                <a:gd name="connsiteX3" fmla="*/ 1529807 w 1834947"/>
                <a:gd name="connsiteY3" fmla="*/ 538807 h 1780287"/>
                <a:gd name="connsiteX4" fmla="*/ 1800725 w 1834947"/>
                <a:gd name="connsiteY4" fmla="*/ 430212 h 1780287"/>
                <a:gd name="connsiteX5" fmla="*/ 1324475 w 1834947"/>
                <a:gd name="connsiteY5" fmla="*/ 1587 h 1780287"/>
                <a:gd name="connsiteX6" fmla="*/ 343400 w 1834947"/>
                <a:gd name="connsiteY6" fmla="*/ 420687 h 1780287"/>
                <a:gd name="connsiteX7" fmla="*/ 500 w 1834947"/>
                <a:gd name="connsiteY7" fmla="*/ 1287462 h 178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34947" h="1780287">
                  <a:moveTo>
                    <a:pt x="500" y="1287462"/>
                  </a:moveTo>
                  <a:cubicBezTo>
                    <a:pt x="1000" y="1451572"/>
                    <a:pt x="235534" y="1350106"/>
                    <a:pt x="346402" y="1405350"/>
                  </a:cubicBezTo>
                  <a:cubicBezTo>
                    <a:pt x="457270" y="1460594"/>
                    <a:pt x="473199" y="1780287"/>
                    <a:pt x="665710" y="1618927"/>
                  </a:cubicBezTo>
                  <a:cubicBezTo>
                    <a:pt x="905422" y="1553840"/>
                    <a:pt x="1238695" y="627021"/>
                    <a:pt x="1529807" y="538807"/>
                  </a:cubicBezTo>
                  <a:cubicBezTo>
                    <a:pt x="1820919" y="450593"/>
                    <a:pt x="1834947" y="519749"/>
                    <a:pt x="1800725" y="430212"/>
                  </a:cubicBezTo>
                  <a:cubicBezTo>
                    <a:pt x="1766503" y="340675"/>
                    <a:pt x="1567362" y="3174"/>
                    <a:pt x="1324475" y="1587"/>
                  </a:cubicBezTo>
                  <a:cubicBezTo>
                    <a:pt x="1081588" y="0"/>
                    <a:pt x="564063" y="206375"/>
                    <a:pt x="343400" y="420687"/>
                  </a:cubicBezTo>
                  <a:cubicBezTo>
                    <a:pt x="122738" y="635000"/>
                    <a:pt x="0" y="1123352"/>
                    <a:pt x="500" y="1287462"/>
                  </a:cubicBezTo>
                  <a:close/>
                </a:path>
              </a:pathLst>
            </a:custGeom>
            <a:gradFill flip="none" rotWithShape="1">
              <a:gsLst>
                <a:gs pos="74000">
                  <a:schemeClr val="bg1">
                    <a:alpha val="19000"/>
                  </a:schemeClr>
                </a:gs>
                <a:gs pos="50000">
                  <a:schemeClr val="bg1">
                    <a:alpha val="0"/>
                  </a:schemeClr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7583622" y="3653921"/>
              <a:ext cx="90010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20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2010</a:t>
              </a:r>
              <a:endParaRPr lang="ko-KR" altLang="en-US" sz="2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97" name="Group 96"/>
          <p:cNvGrpSpPr/>
          <p:nvPr/>
        </p:nvGrpSpPr>
        <p:grpSpPr>
          <a:xfrm>
            <a:off x="4692607" y="3363541"/>
            <a:ext cx="1060684" cy="1060686"/>
            <a:chOff x="7499374" y="3309532"/>
            <a:chExt cx="1060684" cy="1060686"/>
          </a:xfrm>
        </p:grpSpPr>
        <p:sp>
          <p:nvSpPr>
            <p:cNvPr id="98" name="타원 37"/>
            <p:cNvSpPr/>
            <p:nvPr/>
          </p:nvSpPr>
          <p:spPr>
            <a:xfrm>
              <a:off x="7534704" y="3355008"/>
              <a:ext cx="997937" cy="997937"/>
            </a:xfrm>
            <a:prstGeom prst="ellipse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ko-KR" altLang="en-US" sz="16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9" name="타원 82"/>
            <p:cNvSpPr/>
            <p:nvPr/>
          </p:nvSpPr>
          <p:spPr>
            <a:xfrm>
              <a:off x="7499374" y="3309532"/>
              <a:ext cx="1060684" cy="1060686"/>
            </a:xfrm>
            <a:prstGeom prst="ellipse">
              <a:avLst/>
            </a:prstGeom>
            <a:gradFill flip="none" rotWithShape="1">
              <a:gsLst>
                <a:gs pos="62000">
                  <a:schemeClr val="bg1">
                    <a:alpha val="0"/>
                  </a:schemeClr>
                </a:gs>
                <a:gs pos="4500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solidFill>
                <a:schemeClr val="bg1"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0" name="Oval 28"/>
            <p:cNvSpPr>
              <a:spLocks noChangeArrowheads="1"/>
            </p:cNvSpPr>
            <p:nvPr/>
          </p:nvSpPr>
          <p:spPr bwMode="auto">
            <a:xfrm flipH="1">
              <a:off x="7613472" y="3418805"/>
              <a:ext cx="336254" cy="301391"/>
            </a:xfrm>
            <a:prstGeom prst="ellipse">
              <a:avLst/>
            </a:prstGeom>
            <a:gradFill rotWithShape="1">
              <a:gsLst>
                <a:gs pos="0">
                  <a:schemeClr val="bg1">
                    <a:alpha val="65000"/>
                  </a:schemeClr>
                </a:gs>
                <a:gs pos="100000">
                  <a:srgbClr val="67ABF5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kumimoji="0" lang="ko-KR" altLang="en-US">
                <a:latin typeface="Arial" pitchFamily="34" charset="0"/>
                <a:ea typeface="맑은 고딕" pitchFamily="50" charset="-127"/>
                <a:cs typeface="Arial" pitchFamily="34" charset="0"/>
              </a:endParaRPr>
            </a:p>
          </p:txBody>
        </p:sp>
        <p:sp>
          <p:nvSpPr>
            <p:cNvPr id="101" name="자유형 85"/>
            <p:cNvSpPr/>
            <p:nvPr/>
          </p:nvSpPr>
          <p:spPr>
            <a:xfrm rot="5398342">
              <a:off x="7881510" y="3366153"/>
              <a:ext cx="671794" cy="651781"/>
            </a:xfrm>
            <a:custGeom>
              <a:avLst/>
              <a:gdLst>
                <a:gd name="connsiteX0" fmla="*/ 0 w 1800225"/>
                <a:gd name="connsiteY0" fmla="*/ 1285875 h 1409700"/>
                <a:gd name="connsiteX1" fmla="*/ 723900 w 1800225"/>
                <a:gd name="connsiteY1" fmla="*/ 1409700 h 1409700"/>
                <a:gd name="connsiteX2" fmla="*/ 1800225 w 1800225"/>
                <a:gd name="connsiteY2" fmla="*/ 428625 h 1409700"/>
                <a:gd name="connsiteX3" fmla="*/ 1323975 w 1800225"/>
                <a:gd name="connsiteY3" fmla="*/ 0 h 1409700"/>
                <a:gd name="connsiteX4" fmla="*/ 342900 w 1800225"/>
                <a:gd name="connsiteY4" fmla="*/ 419100 h 1409700"/>
                <a:gd name="connsiteX5" fmla="*/ 0 w 1800225"/>
                <a:gd name="connsiteY5" fmla="*/ 1285875 h 1409700"/>
                <a:gd name="connsiteX0" fmla="*/ 63500 w 1863725"/>
                <a:gd name="connsiteY0" fmla="*/ 1287462 h 1411287"/>
                <a:gd name="connsiteX1" fmla="*/ 787400 w 1863725"/>
                <a:gd name="connsiteY1" fmla="*/ 1411287 h 1411287"/>
                <a:gd name="connsiteX2" fmla="*/ 1863725 w 1863725"/>
                <a:gd name="connsiteY2" fmla="*/ 430212 h 1411287"/>
                <a:gd name="connsiteX3" fmla="*/ 1387475 w 1863725"/>
                <a:gd name="connsiteY3" fmla="*/ 1587 h 1411287"/>
                <a:gd name="connsiteX4" fmla="*/ 406400 w 1863725"/>
                <a:gd name="connsiteY4" fmla="*/ 420687 h 1411287"/>
                <a:gd name="connsiteX5" fmla="*/ 63500 w 1863725"/>
                <a:gd name="connsiteY5" fmla="*/ 1287462 h 1411287"/>
                <a:gd name="connsiteX0" fmla="*/ 63500 w 1963738"/>
                <a:gd name="connsiteY0" fmla="*/ 1287462 h 1411287"/>
                <a:gd name="connsiteX1" fmla="*/ 787400 w 1963738"/>
                <a:gd name="connsiteY1" fmla="*/ 1411287 h 1411287"/>
                <a:gd name="connsiteX2" fmla="*/ 1863725 w 1963738"/>
                <a:gd name="connsiteY2" fmla="*/ 430212 h 1411287"/>
                <a:gd name="connsiteX3" fmla="*/ 1387475 w 1963738"/>
                <a:gd name="connsiteY3" fmla="*/ 1587 h 1411287"/>
                <a:gd name="connsiteX4" fmla="*/ 406400 w 1963738"/>
                <a:gd name="connsiteY4" fmla="*/ 420687 h 1411287"/>
                <a:gd name="connsiteX5" fmla="*/ 63500 w 1963738"/>
                <a:gd name="connsiteY5" fmla="*/ 1287462 h 1411287"/>
                <a:gd name="connsiteX0" fmla="*/ 63500 w 1963738"/>
                <a:gd name="connsiteY0" fmla="*/ 1287462 h 1554162"/>
                <a:gd name="connsiteX1" fmla="*/ 787400 w 1963738"/>
                <a:gd name="connsiteY1" fmla="*/ 1411287 h 1554162"/>
                <a:gd name="connsiteX2" fmla="*/ 1863725 w 1963738"/>
                <a:gd name="connsiteY2" fmla="*/ 430212 h 1554162"/>
                <a:gd name="connsiteX3" fmla="*/ 1387475 w 1963738"/>
                <a:gd name="connsiteY3" fmla="*/ 1587 h 1554162"/>
                <a:gd name="connsiteX4" fmla="*/ 406400 w 1963738"/>
                <a:gd name="connsiteY4" fmla="*/ 420687 h 1554162"/>
                <a:gd name="connsiteX5" fmla="*/ 63500 w 1963738"/>
                <a:gd name="connsiteY5" fmla="*/ 1287462 h 1554162"/>
                <a:gd name="connsiteX0" fmla="*/ 63500 w 1963738"/>
                <a:gd name="connsiteY0" fmla="*/ 1287462 h 1554162"/>
                <a:gd name="connsiteX1" fmla="*/ 787400 w 1963738"/>
                <a:gd name="connsiteY1" fmla="*/ 1411287 h 1554162"/>
                <a:gd name="connsiteX2" fmla="*/ 1863725 w 1963738"/>
                <a:gd name="connsiteY2" fmla="*/ 430212 h 1554162"/>
                <a:gd name="connsiteX3" fmla="*/ 1387475 w 1963738"/>
                <a:gd name="connsiteY3" fmla="*/ 1587 h 1554162"/>
                <a:gd name="connsiteX4" fmla="*/ 406400 w 1963738"/>
                <a:gd name="connsiteY4" fmla="*/ 420687 h 1554162"/>
                <a:gd name="connsiteX5" fmla="*/ 63500 w 1963738"/>
                <a:gd name="connsiteY5" fmla="*/ 1287462 h 1554162"/>
                <a:gd name="connsiteX0" fmla="*/ 63500 w 1963738"/>
                <a:gd name="connsiteY0" fmla="*/ 1287462 h 1554162"/>
                <a:gd name="connsiteX1" fmla="*/ 787400 w 1963738"/>
                <a:gd name="connsiteY1" fmla="*/ 1411287 h 1554162"/>
                <a:gd name="connsiteX2" fmla="*/ 1863725 w 1963738"/>
                <a:gd name="connsiteY2" fmla="*/ 430212 h 1554162"/>
                <a:gd name="connsiteX3" fmla="*/ 1387475 w 1963738"/>
                <a:gd name="connsiteY3" fmla="*/ 1587 h 1554162"/>
                <a:gd name="connsiteX4" fmla="*/ 406400 w 1963738"/>
                <a:gd name="connsiteY4" fmla="*/ 420687 h 1554162"/>
                <a:gd name="connsiteX5" fmla="*/ 63500 w 1963738"/>
                <a:gd name="connsiteY5" fmla="*/ 1287462 h 1554162"/>
                <a:gd name="connsiteX0" fmla="*/ 41717 w 1963737"/>
                <a:gd name="connsiteY0" fmla="*/ 1287462 h 1689794"/>
                <a:gd name="connsiteX1" fmla="*/ 634920 w 1963737"/>
                <a:gd name="connsiteY1" fmla="*/ 1546919 h 1689794"/>
                <a:gd name="connsiteX2" fmla="*/ 1841942 w 1963737"/>
                <a:gd name="connsiteY2" fmla="*/ 430212 h 1689794"/>
                <a:gd name="connsiteX3" fmla="*/ 1365692 w 1963737"/>
                <a:gd name="connsiteY3" fmla="*/ 1587 h 1689794"/>
                <a:gd name="connsiteX4" fmla="*/ 384617 w 1963737"/>
                <a:gd name="connsiteY4" fmla="*/ 420687 h 1689794"/>
                <a:gd name="connsiteX5" fmla="*/ 41717 w 1963737"/>
                <a:gd name="connsiteY5" fmla="*/ 1287462 h 1689794"/>
                <a:gd name="connsiteX0" fmla="*/ 41717 w 1860992"/>
                <a:gd name="connsiteY0" fmla="*/ 1287462 h 1689794"/>
                <a:gd name="connsiteX1" fmla="*/ 634920 w 1860992"/>
                <a:gd name="connsiteY1" fmla="*/ 1546919 h 1689794"/>
                <a:gd name="connsiteX2" fmla="*/ 1479991 w 1860992"/>
                <a:gd name="connsiteY2" fmla="*/ 896937 h 1689794"/>
                <a:gd name="connsiteX3" fmla="*/ 1841942 w 1860992"/>
                <a:gd name="connsiteY3" fmla="*/ 430212 h 1689794"/>
                <a:gd name="connsiteX4" fmla="*/ 1365692 w 1860992"/>
                <a:gd name="connsiteY4" fmla="*/ 1587 h 1689794"/>
                <a:gd name="connsiteX5" fmla="*/ 384617 w 1860992"/>
                <a:gd name="connsiteY5" fmla="*/ 420687 h 1689794"/>
                <a:gd name="connsiteX6" fmla="*/ 41717 w 1860992"/>
                <a:gd name="connsiteY6" fmla="*/ 1287462 h 1689794"/>
                <a:gd name="connsiteX0" fmla="*/ 41717 w 1843724"/>
                <a:gd name="connsiteY0" fmla="*/ 1287462 h 1689794"/>
                <a:gd name="connsiteX1" fmla="*/ 634920 w 1843724"/>
                <a:gd name="connsiteY1" fmla="*/ 1546919 h 1689794"/>
                <a:gd name="connsiteX2" fmla="*/ 1355000 w 1843724"/>
                <a:gd name="connsiteY2" fmla="*/ 466799 h 1689794"/>
                <a:gd name="connsiteX3" fmla="*/ 1841942 w 1843724"/>
                <a:gd name="connsiteY3" fmla="*/ 430212 h 1689794"/>
                <a:gd name="connsiteX4" fmla="*/ 1365692 w 1843724"/>
                <a:gd name="connsiteY4" fmla="*/ 1587 h 1689794"/>
                <a:gd name="connsiteX5" fmla="*/ 384617 w 1843724"/>
                <a:gd name="connsiteY5" fmla="*/ 420687 h 1689794"/>
                <a:gd name="connsiteX6" fmla="*/ 41717 w 1843724"/>
                <a:gd name="connsiteY6" fmla="*/ 1287462 h 1689794"/>
                <a:gd name="connsiteX0" fmla="*/ 41717 w 1843724"/>
                <a:gd name="connsiteY0" fmla="*/ 1287462 h 1689794"/>
                <a:gd name="connsiteX1" fmla="*/ 634920 w 1843724"/>
                <a:gd name="connsiteY1" fmla="*/ 1546919 h 1689794"/>
                <a:gd name="connsiteX2" fmla="*/ 1355000 w 1843724"/>
                <a:gd name="connsiteY2" fmla="*/ 466799 h 1689794"/>
                <a:gd name="connsiteX3" fmla="*/ 1841942 w 1843724"/>
                <a:gd name="connsiteY3" fmla="*/ 430212 h 1689794"/>
                <a:gd name="connsiteX4" fmla="*/ 1365692 w 1843724"/>
                <a:gd name="connsiteY4" fmla="*/ 1587 h 1689794"/>
                <a:gd name="connsiteX5" fmla="*/ 384617 w 1843724"/>
                <a:gd name="connsiteY5" fmla="*/ 420687 h 1689794"/>
                <a:gd name="connsiteX6" fmla="*/ 41717 w 1843724"/>
                <a:gd name="connsiteY6" fmla="*/ 1287462 h 1689794"/>
                <a:gd name="connsiteX0" fmla="*/ 41717 w 1855725"/>
                <a:gd name="connsiteY0" fmla="*/ 1287462 h 1689794"/>
                <a:gd name="connsiteX1" fmla="*/ 634920 w 1855725"/>
                <a:gd name="connsiteY1" fmla="*/ 1546919 h 1689794"/>
                <a:gd name="connsiteX2" fmla="*/ 1282992 w 1855725"/>
                <a:gd name="connsiteY2" fmla="*/ 322783 h 1689794"/>
                <a:gd name="connsiteX3" fmla="*/ 1841942 w 1855725"/>
                <a:gd name="connsiteY3" fmla="*/ 430212 h 1689794"/>
                <a:gd name="connsiteX4" fmla="*/ 1365692 w 1855725"/>
                <a:gd name="connsiteY4" fmla="*/ 1587 h 1689794"/>
                <a:gd name="connsiteX5" fmla="*/ 384617 w 1855725"/>
                <a:gd name="connsiteY5" fmla="*/ 420687 h 1689794"/>
                <a:gd name="connsiteX6" fmla="*/ 41717 w 1855725"/>
                <a:gd name="connsiteY6" fmla="*/ 1287462 h 1689794"/>
                <a:gd name="connsiteX0" fmla="*/ 41717 w 1876164"/>
                <a:gd name="connsiteY0" fmla="*/ 1287462 h 1689794"/>
                <a:gd name="connsiteX1" fmla="*/ 634920 w 1876164"/>
                <a:gd name="connsiteY1" fmla="*/ 1546919 h 1689794"/>
                <a:gd name="connsiteX2" fmla="*/ 1571024 w 1876164"/>
                <a:gd name="connsiteY2" fmla="*/ 538807 h 1689794"/>
                <a:gd name="connsiteX3" fmla="*/ 1841942 w 1876164"/>
                <a:gd name="connsiteY3" fmla="*/ 430212 h 1689794"/>
                <a:gd name="connsiteX4" fmla="*/ 1365692 w 1876164"/>
                <a:gd name="connsiteY4" fmla="*/ 1587 h 1689794"/>
                <a:gd name="connsiteX5" fmla="*/ 384617 w 1876164"/>
                <a:gd name="connsiteY5" fmla="*/ 420687 h 1689794"/>
                <a:gd name="connsiteX6" fmla="*/ 41717 w 1876164"/>
                <a:gd name="connsiteY6" fmla="*/ 1287462 h 1689794"/>
                <a:gd name="connsiteX0" fmla="*/ 53718 w 1888165"/>
                <a:gd name="connsiteY0" fmla="*/ 1287462 h 1761802"/>
                <a:gd name="connsiteX1" fmla="*/ 718928 w 1888165"/>
                <a:gd name="connsiteY1" fmla="*/ 1618927 h 1761802"/>
                <a:gd name="connsiteX2" fmla="*/ 1583025 w 1888165"/>
                <a:gd name="connsiteY2" fmla="*/ 538807 h 1761802"/>
                <a:gd name="connsiteX3" fmla="*/ 1853943 w 1888165"/>
                <a:gd name="connsiteY3" fmla="*/ 430212 h 1761802"/>
                <a:gd name="connsiteX4" fmla="*/ 1377693 w 1888165"/>
                <a:gd name="connsiteY4" fmla="*/ 1587 h 1761802"/>
                <a:gd name="connsiteX5" fmla="*/ 396618 w 1888165"/>
                <a:gd name="connsiteY5" fmla="*/ 420687 h 1761802"/>
                <a:gd name="connsiteX6" fmla="*/ 53718 w 1888165"/>
                <a:gd name="connsiteY6" fmla="*/ 1287462 h 1761802"/>
                <a:gd name="connsiteX0" fmla="*/ 53718 w 1888165"/>
                <a:gd name="connsiteY0" fmla="*/ 1287462 h 1761802"/>
                <a:gd name="connsiteX1" fmla="*/ 718928 w 1888165"/>
                <a:gd name="connsiteY1" fmla="*/ 1618927 h 1761802"/>
                <a:gd name="connsiteX2" fmla="*/ 1583025 w 1888165"/>
                <a:gd name="connsiteY2" fmla="*/ 538807 h 1761802"/>
                <a:gd name="connsiteX3" fmla="*/ 1853943 w 1888165"/>
                <a:gd name="connsiteY3" fmla="*/ 430212 h 1761802"/>
                <a:gd name="connsiteX4" fmla="*/ 1377693 w 1888165"/>
                <a:gd name="connsiteY4" fmla="*/ 1587 h 1761802"/>
                <a:gd name="connsiteX5" fmla="*/ 396618 w 1888165"/>
                <a:gd name="connsiteY5" fmla="*/ 420687 h 1761802"/>
                <a:gd name="connsiteX6" fmla="*/ 53718 w 1888165"/>
                <a:gd name="connsiteY6" fmla="*/ 1287462 h 1761802"/>
                <a:gd name="connsiteX0" fmla="*/ 53718 w 1888165"/>
                <a:gd name="connsiteY0" fmla="*/ 1287462 h 1706006"/>
                <a:gd name="connsiteX1" fmla="*/ 718928 w 1888165"/>
                <a:gd name="connsiteY1" fmla="*/ 1618927 h 1706006"/>
                <a:gd name="connsiteX2" fmla="*/ 1583025 w 1888165"/>
                <a:gd name="connsiteY2" fmla="*/ 538807 h 1706006"/>
                <a:gd name="connsiteX3" fmla="*/ 1853943 w 1888165"/>
                <a:gd name="connsiteY3" fmla="*/ 430212 h 1706006"/>
                <a:gd name="connsiteX4" fmla="*/ 1377693 w 1888165"/>
                <a:gd name="connsiteY4" fmla="*/ 1587 h 1706006"/>
                <a:gd name="connsiteX5" fmla="*/ 396618 w 1888165"/>
                <a:gd name="connsiteY5" fmla="*/ 420687 h 1706006"/>
                <a:gd name="connsiteX6" fmla="*/ 53718 w 1888165"/>
                <a:gd name="connsiteY6" fmla="*/ 1287462 h 1706006"/>
                <a:gd name="connsiteX0" fmla="*/ 53718 w 1888165"/>
                <a:gd name="connsiteY0" fmla="*/ 1287462 h 1618927"/>
                <a:gd name="connsiteX1" fmla="*/ 718928 w 1888165"/>
                <a:gd name="connsiteY1" fmla="*/ 1618927 h 1618927"/>
                <a:gd name="connsiteX2" fmla="*/ 1583025 w 1888165"/>
                <a:gd name="connsiteY2" fmla="*/ 538807 h 1618927"/>
                <a:gd name="connsiteX3" fmla="*/ 1853943 w 1888165"/>
                <a:gd name="connsiteY3" fmla="*/ 430212 h 1618927"/>
                <a:gd name="connsiteX4" fmla="*/ 1377693 w 1888165"/>
                <a:gd name="connsiteY4" fmla="*/ 1587 h 1618927"/>
                <a:gd name="connsiteX5" fmla="*/ 396618 w 1888165"/>
                <a:gd name="connsiteY5" fmla="*/ 420687 h 1618927"/>
                <a:gd name="connsiteX6" fmla="*/ 53718 w 1888165"/>
                <a:gd name="connsiteY6" fmla="*/ 1287462 h 1618927"/>
                <a:gd name="connsiteX0" fmla="*/ 5223 w 1839670"/>
                <a:gd name="connsiteY0" fmla="*/ 1287462 h 1780287"/>
                <a:gd name="connsiteX1" fmla="*/ 379464 w 1839670"/>
                <a:gd name="connsiteY1" fmla="*/ 1506969 h 1780287"/>
                <a:gd name="connsiteX2" fmla="*/ 670433 w 1839670"/>
                <a:gd name="connsiteY2" fmla="*/ 1618927 h 1780287"/>
                <a:gd name="connsiteX3" fmla="*/ 1534530 w 1839670"/>
                <a:gd name="connsiteY3" fmla="*/ 538807 h 1780287"/>
                <a:gd name="connsiteX4" fmla="*/ 1805448 w 1839670"/>
                <a:gd name="connsiteY4" fmla="*/ 430212 h 1780287"/>
                <a:gd name="connsiteX5" fmla="*/ 1329198 w 1839670"/>
                <a:gd name="connsiteY5" fmla="*/ 1587 h 1780287"/>
                <a:gd name="connsiteX6" fmla="*/ 348123 w 1839670"/>
                <a:gd name="connsiteY6" fmla="*/ 420687 h 1780287"/>
                <a:gd name="connsiteX7" fmla="*/ 5223 w 1839670"/>
                <a:gd name="connsiteY7" fmla="*/ 1287462 h 1780287"/>
                <a:gd name="connsiteX0" fmla="*/ 500 w 1834947"/>
                <a:gd name="connsiteY0" fmla="*/ 1287462 h 1780287"/>
                <a:gd name="connsiteX1" fmla="*/ 346402 w 1834947"/>
                <a:gd name="connsiteY1" fmla="*/ 1405350 h 1780287"/>
                <a:gd name="connsiteX2" fmla="*/ 665710 w 1834947"/>
                <a:gd name="connsiteY2" fmla="*/ 1618927 h 1780287"/>
                <a:gd name="connsiteX3" fmla="*/ 1529807 w 1834947"/>
                <a:gd name="connsiteY3" fmla="*/ 538807 h 1780287"/>
                <a:gd name="connsiteX4" fmla="*/ 1800725 w 1834947"/>
                <a:gd name="connsiteY4" fmla="*/ 430212 h 1780287"/>
                <a:gd name="connsiteX5" fmla="*/ 1324475 w 1834947"/>
                <a:gd name="connsiteY5" fmla="*/ 1587 h 1780287"/>
                <a:gd name="connsiteX6" fmla="*/ 343400 w 1834947"/>
                <a:gd name="connsiteY6" fmla="*/ 420687 h 1780287"/>
                <a:gd name="connsiteX7" fmla="*/ 500 w 1834947"/>
                <a:gd name="connsiteY7" fmla="*/ 1287462 h 1780287"/>
                <a:gd name="connsiteX0" fmla="*/ 500 w 1834947"/>
                <a:gd name="connsiteY0" fmla="*/ 1287462 h 1780287"/>
                <a:gd name="connsiteX1" fmla="*/ 346402 w 1834947"/>
                <a:gd name="connsiteY1" fmla="*/ 1405350 h 1780287"/>
                <a:gd name="connsiteX2" fmla="*/ 665710 w 1834947"/>
                <a:gd name="connsiteY2" fmla="*/ 1618927 h 1780287"/>
                <a:gd name="connsiteX3" fmla="*/ 1529807 w 1834947"/>
                <a:gd name="connsiteY3" fmla="*/ 538807 h 1780287"/>
                <a:gd name="connsiteX4" fmla="*/ 1800725 w 1834947"/>
                <a:gd name="connsiteY4" fmla="*/ 430212 h 1780287"/>
                <a:gd name="connsiteX5" fmla="*/ 1324475 w 1834947"/>
                <a:gd name="connsiteY5" fmla="*/ 1587 h 1780287"/>
                <a:gd name="connsiteX6" fmla="*/ 343400 w 1834947"/>
                <a:gd name="connsiteY6" fmla="*/ 420687 h 1780287"/>
                <a:gd name="connsiteX7" fmla="*/ 500 w 1834947"/>
                <a:gd name="connsiteY7" fmla="*/ 1287462 h 1780287"/>
                <a:gd name="connsiteX0" fmla="*/ 500 w 1834947"/>
                <a:gd name="connsiteY0" fmla="*/ 1287462 h 1780287"/>
                <a:gd name="connsiteX1" fmla="*/ 346402 w 1834947"/>
                <a:gd name="connsiteY1" fmla="*/ 1405350 h 1780287"/>
                <a:gd name="connsiteX2" fmla="*/ 665710 w 1834947"/>
                <a:gd name="connsiteY2" fmla="*/ 1618927 h 1780287"/>
                <a:gd name="connsiteX3" fmla="*/ 1529807 w 1834947"/>
                <a:gd name="connsiteY3" fmla="*/ 538807 h 1780287"/>
                <a:gd name="connsiteX4" fmla="*/ 1800725 w 1834947"/>
                <a:gd name="connsiteY4" fmla="*/ 430212 h 1780287"/>
                <a:gd name="connsiteX5" fmla="*/ 1324475 w 1834947"/>
                <a:gd name="connsiteY5" fmla="*/ 1587 h 1780287"/>
                <a:gd name="connsiteX6" fmla="*/ 343400 w 1834947"/>
                <a:gd name="connsiteY6" fmla="*/ 420687 h 1780287"/>
                <a:gd name="connsiteX7" fmla="*/ 500 w 1834947"/>
                <a:gd name="connsiteY7" fmla="*/ 1287462 h 178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34947" h="1780287">
                  <a:moveTo>
                    <a:pt x="500" y="1287462"/>
                  </a:moveTo>
                  <a:cubicBezTo>
                    <a:pt x="1000" y="1451572"/>
                    <a:pt x="235534" y="1350106"/>
                    <a:pt x="346402" y="1405350"/>
                  </a:cubicBezTo>
                  <a:cubicBezTo>
                    <a:pt x="457270" y="1460594"/>
                    <a:pt x="473199" y="1780287"/>
                    <a:pt x="665710" y="1618927"/>
                  </a:cubicBezTo>
                  <a:cubicBezTo>
                    <a:pt x="905422" y="1553840"/>
                    <a:pt x="1238695" y="627021"/>
                    <a:pt x="1529807" y="538807"/>
                  </a:cubicBezTo>
                  <a:cubicBezTo>
                    <a:pt x="1820919" y="450593"/>
                    <a:pt x="1834947" y="519749"/>
                    <a:pt x="1800725" y="430212"/>
                  </a:cubicBezTo>
                  <a:cubicBezTo>
                    <a:pt x="1766503" y="340675"/>
                    <a:pt x="1567362" y="3174"/>
                    <a:pt x="1324475" y="1587"/>
                  </a:cubicBezTo>
                  <a:cubicBezTo>
                    <a:pt x="1081588" y="0"/>
                    <a:pt x="564063" y="206375"/>
                    <a:pt x="343400" y="420687"/>
                  </a:cubicBezTo>
                  <a:cubicBezTo>
                    <a:pt x="122738" y="635000"/>
                    <a:pt x="0" y="1123352"/>
                    <a:pt x="500" y="1287462"/>
                  </a:cubicBezTo>
                  <a:close/>
                </a:path>
              </a:pathLst>
            </a:custGeom>
            <a:gradFill flip="none" rotWithShape="1">
              <a:gsLst>
                <a:gs pos="74000">
                  <a:schemeClr val="bg1">
                    <a:alpha val="19000"/>
                  </a:schemeClr>
                </a:gs>
                <a:gs pos="50000">
                  <a:schemeClr val="bg1">
                    <a:alpha val="0"/>
                  </a:schemeClr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2" name="TextBox 101"/>
            <p:cNvSpPr txBox="1"/>
            <p:nvPr/>
          </p:nvSpPr>
          <p:spPr>
            <a:xfrm>
              <a:off x="7583622" y="3653921"/>
              <a:ext cx="90010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20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2007</a:t>
              </a:r>
              <a:endParaRPr lang="ko-KR" altLang="en-US" sz="2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03" name="Group 102"/>
          <p:cNvGrpSpPr/>
          <p:nvPr/>
        </p:nvGrpSpPr>
        <p:grpSpPr>
          <a:xfrm>
            <a:off x="3251463" y="3386045"/>
            <a:ext cx="1060684" cy="1060686"/>
            <a:chOff x="7499374" y="3309532"/>
            <a:chExt cx="1060684" cy="1060686"/>
          </a:xfrm>
        </p:grpSpPr>
        <p:sp>
          <p:nvSpPr>
            <p:cNvPr id="104" name="타원 37"/>
            <p:cNvSpPr/>
            <p:nvPr/>
          </p:nvSpPr>
          <p:spPr>
            <a:xfrm>
              <a:off x="7534704" y="3355008"/>
              <a:ext cx="997937" cy="997937"/>
            </a:xfrm>
            <a:prstGeom prst="ellipse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ko-KR" altLang="en-US" sz="16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5" name="타원 82"/>
            <p:cNvSpPr/>
            <p:nvPr/>
          </p:nvSpPr>
          <p:spPr>
            <a:xfrm>
              <a:off x="7499374" y="3309532"/>
              <a:ext cx="1060684" cy="1060686"/>
            </a:xfrm>
            <a:prstGeom prst="ellipse">
              <a:avLst/>
            </a:prstGeom>
            <a:gradFill flip="none" rotWithShape="1">
              <a:gsLst>
                <a:gs pos="62000">
                  <a:schemeClr val="bg1">
                    <a:alpha val="0"/>
                  </a:schemeClr>
                </a:gs>
                <a:gs pos="4500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solidFill>
                <a:schemeClr val="bg1"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6" name="Oval 28"/>
            <p:cNvSpPr>
              <a:spLocks noChangeArrowheads="1"/>
            </p:cNvSpPr>
            <p:nvPr/>
          </p:nvSpPr>
          <p:spPr bwMode="auto">
            <a:xfrm flipH="1">
              <a:off x="7613472" y="3418805"/>
              <a:ext cx="336254" cy="301391"/>
            </a:xfrm>
            <a:prstGeom prst="ellipse">
              <a:avLst/>
            </a:prstGeom>
            <a:gradFill rotWithShape="1">
              <a:gsLst>
                <a:gs pos="0">
                  <a:schemeClr val="bg1">
                    <a:alpha val="65000"/>
                  </a:schemeClr>
                </a:gs>
                <a:gs pos="100000">
                  <a:srgbClr val="67ABF5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kumimoji="0" lang="ko-KR" altLang="en-US">
                <a:latin typeface="Arial" pitchFamily="34" charset="0"/>
                <a:ea typeface="맑은 고딕" pitchFamily="50" charset="-127"/>
                <a:cs typeface="Arial" pitchFamily="34" charset="0"/>
              </a:endParaRPr>
            </a:p>
          </p:txBody>
        </p:sp>
        <p:sp>
          <p:nvSpPr>
            <p:cNvPr id="107" name="자유형 85"/>
            <p:cNvSpPr/>
            <p:nvPr/>
          </p:nvSpPr>
          <p:spPr>
            <a:xfrm rot="5398342">
              <a:off x="7881510" y="3366153"/>
              <a:ext cx="671794" cy="651781"/>
            </a:xfrm>
            <a:custGeom>
              <a:avLst/>
              <a:gdLst>
                <a:gd name="connsiteX0" fmla="*/ 0 w 1800225"/>
                <a:gd name="connsiteY0" fmla="*/ 1285875 h 1409700"/>
                <a:gd name="connsiteX1" fmla="*/ 723900 w 1800225"/>
                <a:gd name="connsiteY1" fmla="*/ 1409700 h 1409700"/>
                <a:gd name="connsiteX2" fmla="*/ 1800225 w 1800225"/>
                <a:gd name="connsiteY2" fmla="*/ 428625 h 1409700"/>
                <a:gd name="connsiteX3" fmla="*/ 1323975 w 1800225"/>
                <a:gd name="connsiteY3" fmla="*/ 0 h 1409700"/>
                <a:gd name="connsiteX4" fmla="*/ 342900 w 1800225"/>
                <a:gd name="connsiteY4" fmla="*/ 419100 h 1409700"/>
                <a:gd name="connsiteX5" fmla="*/ 0 w 1800225"/>
                <a:gd name="connsiteY5" fmla="*/ 1285875 h 1409700"/>
                <a:gd name="connsiteX0" fmla="*/ 63500 w 1863725"/>
                <a:gd name="connsiteY0" fmla="*/ 1287462 h 1411287"/>
                <a:gd name="connsiteX1" fmla="*/ 787400 w 1863725"/>
                <a:gd name="connsiteY1" fmla="*/ 1411287 h 1411287"/>
                <a:gd name="connsiteX2" fmla="*/ 1863725 w 1863725"/>
                <a:gd name="connsiteY2" fmla="*/ 430212 h 1411287"/>
                <a:gd name="connsiteX3" fmla="*/ 1387475 w 1863725"/>
                <a:gd name="connsiteY3" fmla="*/ 1587 h 1411287"/>
                <a:gd name="connsiteX4" fmla="*/ 406400 w 1863725"/>
                <a:gd name="connsiteY4" fmla="*/ 420687 h 1411287"/>
                <a:gd name="connsiteX5" fmla="*/ 63500 w 1863725"/>
                <a:gd name="connsiteY5" fmla="*/ 1287462 h 1411287"/>
                <a:gd name="connsiteX0" fmla="*/ 63500 w 1963738"/>
                <a:gd name="connsiteY0" fmla="*/ 1287462 h 1411287"/>
                <a:gd name="connsiteX1" fmla="*/ 787400 w 1963738"/>
                <a:gd name="connsiteY1" fmla="*/ 1411287 h 1411287"/>
                <a:gd name="connsiteX2" fmla="*/ 1863725 w 1963738"/>
                <a:gd name="connsiteY2" fmla="*/ 430212 h 1411287"/>
                <a:gd name="connsiteX3" fmla="*/ 1387475 w 1963738"/>
                <a:gd name="connsiteY3" fmla="*/ 1587 h 1411287"/>
                <a:gd name="connsiteX4" fmla="*/ 406400 w 1963738"/>
                <a:gd name="connsiteY4" fmla="*/ 420687 h 1411287"/>
                <a:gd name="connsiteX5" fmla="*/ 63500 w 1963738"/>
                <a:gd name="connsiteY5" fmla="*/ 1287462 h 1411287"/>
                <a:gd name="connsiteX0" fmla="*/ 63500 w 1963738"/>
                <a:gd name="connsiteY0" fmla="*/ 1287462 h 1554162"/>
                <a:gd name="connsiteX1" fmla="*/ 787400 w 1963738"/>
                <a:gd name="connsiteY1" fmla="*/ 1411287 h 1554162"/>
                <a:gd name="connsiteX2" fmla="*/ 1863725 w 1963738"/>
                <a:gd name="connsiteY2" fmla="*/ 430212 h 1554162"/>
                <a:gd name="connsiteX3" fmla="*/ 1387475 w 1963738"/>
                <a:gd name="connsiteY3" fmla="*/ 1587 h 1554162"/>
                <a:gd name="connsiteX4" fmla="*/ 406400 w 1963738"/>
                <a:gd name="connsiteY4" fmla="*/ 420687 h 1554162"/>
                <a:gd name="connsiteX5" fmla="*/ 63500 w 1963738"/>
                <a:gd name="connsiteY5" fmla="*/ 1287462 h 1554162"/>
                <a:gd name="connsiteX0" fmla="*/ 63500 w 1963738"/>
                <a:gd name="connsiteY0" fmla="*/ 1287462 h 1554162"/>
                <a:gd name="connsiteX1" fmla="*/ 787400 w 1963738"/>
                <a:gd name="connsiteY1" fmla="*/ 1411287 h 1554162"/>
                <a:gd name="connsiteX2" fmla="*/ 1863725 w 1963738"/>
                <a:gd name="connsiteY2" fmla="*/ 430212 h 1554162"/>
                <a:gd name="connsiteX3" fmla="*/ 1387475 w 1963738"/>
                <a:gd name="connsiteY3" fmla="*/ 1587 h 1554162"/>
                <a:gd name="connsiteX4" fmla="*/ 406400 w 1963738"/>
                <a:gd name="connsiteY4" fmla="*/ 420687 h 1554162"/>
                <a:gd name="connsiteX5" fmla="*/ 63500 w 1963738"/>
                <a:gd name="connsiteY5" fmla="*/ 1287462 h 1554162"/>
                <a:gd name="connsiteX0" fmla="*/ 63500 w 1963738"/>
                <a:gd name="connsiteY0" fmla="*/ 1287462 h 1554162"/>
                <a:gd name="connsiteX1" fmla="*/ 787400 w 1963738"/>
                <a:gd name="connsiteY1" fmla="*/ 1411287 h 1554162"/>
                <a:gd name="connsiteX2" fmla="*/ 1863725 w 1963738"/>
                <a:gd name="connsiteY2" fmla="*/ 430212 h 1554162"/>
                <a:gd name="connsiteX3" fmla="*/ 1387475 w 1963738"/>
                <a:gd name="connsiteY3" fmla="*/ 1587 h 1554162"/>
                <a:gd name="connsiteX4" fmla="*/ 406400 w 1963738"/>
                <a:gd name="connsiteY4" fmla="*/ 420687 h 1554162"/>
                <a:gd name="connsiteX5" fmla="*/ 63500 w 1963738"/>
                <a:gd name="connsiteY5" fmla="*/ 1287462 h 1554162"/>
                <a:gd name="connsiteX0" fmla="*/ 41717 w 1963737"/>
                <a:gd name="connsiteY0" fmla="*/ 1287462 h 1689794"/>
                <a:gd name="connsiteX1" fmla="*/ 634920 w 1963737"/>
                <a:gd name="connsiteY1" fmla="*/ 1546919 h 1689794"/>
                <a:gd name="connsiteX2" fmla="*/ 1841942 w 1963737"/>
                <a:gd name="connsiteY2" fmla="*/ 430212 h 1689794"/>
                <a:gd name="connsiteX3" fmla="*/ 1365692 w 1963737"/>
                <a:gd name="connsiteY3" fmla="*/ 1587 h 1689794"/>
                <a:gd name="connsiteX4" fmla="*/ 384617 w 1963737"/>
                <a:gd name="connsiteY4" fmla="*/ 420687 h 1689794"/>
                <a:gd name="connsiteX5" fmla="*/ 41717 w 1963737"/>
                <a:gd name="connsiteY5" fmla="*/ 1287462 h 1689794"/>
                <a:gd name="connsiteX0" fmla="*/ 41717 w 1860992"/>
                <a:gd name="connsiteY0" fmla="*/ 1287462 h 1689794"/>
                <a:gd name="connsiteX1" fmla="*/ 634920 w 1860992"/>
                <a:gd name="connsiteY1" fmla="*/ 1546919 h 1689794"/>
                <a:gd name="connsiteX2" fmla="*/ 1479991 w 1860992"/>
                <a:gd name="connsiteY2" fmla="*/ 896937 h 1689794"/>
                <a:gd name="connsiteX3" fmla="*/ 1841942 w 1860992"/>
                <a:gd name="connsiteY3" fmla="*/ 430212 h 1689794"/>
                <a:gd name="connsiteX4" fmla="*/ 1365692 w 1860992"/>
                <a:gd name="connsiteY4" fmla="*/ 1587 h 1689794"/>
                <a:gd name="connsiteX5" fmla="*/ 384617 w 1860992"/>
                <a:gd name="connsiteY5" fmla="*/ 420687 h 1689794"/>
                <a:gd name="connsiteX6" fmla="*/ 41717 w 1860992"/>
                <a:gd name="connsiteY6" fmla="*/ 1287462 h 1689794"/>
                <a:gd name="connsiteX0" fmla="*/ 41717 w 1843724"/>
                <a:gd name="connsiteY0" fmla="*/ 1287462 h 1689794"/>
                <a:gd name="connsiteX1" fmla="*/ 634920 w 1843724"/>
                <a:gd name="connsiteY1" fmla="*/ 1546919 h 1689794"/>
                <a:gd name="connsiteX2" fmla="*/ 1355000 w 1843724"/>
                <a:gd name="connsiteY2" fmla="*/ 466799 h 1689794"/>
                <a:gd name="connsiteX3" fmla="*/ 1841942 w 1843724"/>
                <a:gd name="connsiteY3" fmla="*/ 430212 h 1689794"/>
                <a:gd name="connsiteX4" fmla="*/ 1365692 w 1843724"/>
                <a:gd name="connsiteY4" fmla="*/ 1587 h 1689794"/>
                <a:gd name="connsiteX5" fmla="*/ 384617 w 1843724"/>
                <a:gd name="connsiteY5" fmla="*/ 420687 h 1689794"/>
                <a:gd name="connsiteX6" fmla="*/ 41717 w 1843724"/>
                <a:gd name="connsiteY6" fmla="*/ 1287462 h 1689794"/>
                <a:gd name="connsiteX0" fmla="*/ 41717 w 1843724"/>
                <a:gd name="connsiteY0" fmla="*/ 1287462 h 1689794"/>
                <a:gd name="connsiteX1" fmla="*/ 634920 w 1843724"/>
                <a:gd name="connsiteY1" fmla="*/ 1546919 h 1689794"/>
                <a:gd name="connsiteX2" fmla="*/ 1355000 w 1843724"/>
                <a:gd name="connsiteY2" fmla="*/ 466799 h 1689794"/>
                <a:gd name="connsiteX3" fmla="*/ 1841942 w 1843724"/>
                <a:gd name="connsiteY3" fmla="*/ 430212 h 1689794"/>
                <a:gd name="connsiteX4" fmla="*/ 1365692 w 1843724"/>
                <a:gd name="connsiteY4" fmla="*/ 1587 h 1689794"/>
                <a:gd name="connsiteX5" fmla="*/ 384617 w 1843724"/>
                <a:gd name="connsiteY5" fmla="*/ 420687 h 1689794"/>
                <a:gd name="connsiteX6" fmla="*/ 41717 w 1843724"/>
                <a:gd name="connsiteY6" fmla="*/ 1287462 h 1689794"/>
                <a:gd name="connsiteX0" fmla="*/ 41717 w 1855725"/>
                <a:gd name="connsiteY0" fmla="*/ 1287462 h 1689794"/>
                <a:gd name="connsiteX1" fmla="*/ 634920 w 1855725"/>
                <a:gd name="connsiteY1" fmla="*/ 1546919 h 1689794"/>
                <a:gd name="connsiteX2" fmla="*/ 1282992 w 1855725"/>
                <a:gd name="connsiteY2" fmla="*/ 322783 h 1689794"/>
                <a:gd name="connsiteX3" fmla="*/ 1841942 w 1855725"/>
                <a:gd name="connsiteY3" fmla="*/ 430212 h 1689794"/>
                <a:gd name="connsiteX4" fmla="*/ 1365692 w 1855725"/>
                <a:gd name="connsiteY4" fmla="*/ 1587 h 1689794"/>
                <a:gd name="connsiteX5" fmla="*/ 384617 w 1855725"/>
                <a:gd name="connsiteY5" fmla="*/ 420687 h 1689794"/>
                <a:gd name="connsiteX6" fmla="*/ 41717 w 1855725"/>
                <a:gd name="connsiteY6" fmla="*/ 1287462 h 1689794"/>
                <a:gd name="connsiteX0" fmla="*/ 41717 w 1876164"/>
                <a:gd name="connsiteY0" fmla="*/ 1287462 h 1689794"/>
                <a:gd name="connsiteX1" fmla="*/ 634920 w 1876164"/>
                <a:gd name="connsiteY1" fmla="*/ 1546919 h 1689794"/>
                <a:gd name="connsiteX2" fmla="*/ 1571024 w 1876164"/>
                <a:gd name="connsiteY2" fmla="*/ 538807 h 1689794"/>
                <a:gd name="connsiteX3" fmla="*/ 1841942 w 1876164"/>
                <a:gd name="connsiteY3" fmla="*/ 430212 h 1689794"/>
                <a:gd name="connsiteX4" fmla="*/ 1365692 w 1876164"/>
                <a:gd name="connsiteY4" fmla="*/ 1587 h 1689794"/>
                <a:gd name="connsiteX5" fmla="*/ 384617 w 1876164"/>
                <a:gd name="connsiteY5" fmla="*/ 420687 h 1689794"/>
                <a:gd name="connsiteX6" fmla="*/ 41717 w 1876164"/>
                <a:gd name="connsiteY6" fmla="*/ 1287462 h 1689794"/>
                <a:gd name="connsiteX0" fmla="*/ 53718 w 1888165"/>
                <a:gd name="connsiteY0" fmla="*/ 1287462 h 1761802"/>
                <a:gd name="connsiteX1" fmla="*/ 718928 w 1888165"/>
                <a:gd name="connsiteY1" fmla="*/ 1618927 h 1761802"/>
                <a:gd name="connsiteX2" fmla="*/ 1583025 w 1888165"/>
                <a:gd name="connsiteY2" fmla="*/ 538807 h 1761802"/>
                <a:gd name="connsiteX3" fmla="*/ 1853943 w 1888165"/>
                <a:gd name="connsiteY3" fmla="*/ 430212 h 1761802"/>
                <a:gd name="connsiteX4" fmla="*/ 1377693 w 1888165"/>
                <a:gd name="connsiteY4" fmla="*/ 1587 h 1761802"/>
                <a:gd name="connsiteX5" fmla="*/ 396618 w 1888165"/>
                <a:gd name="connsiteY5" fmla="*/ 420687 h 1761802"/>
                <a:gd name="connsiteX6" fmla="*/ 53718 w 1888165"/>
                <a:gd name="connsiteY6" fmla="*/ 1287462 h 1761802"/>
                <a:gd name="connsiteX0" fmla="*/ 53718 w 1888165"/>
                <a:gd name="connsiteY0" fmla="*/ 1287462 h 1761802"/>
                <a:gd name="connsiteX1" fmla="*/ 718928 w 1888165"/>
                <a:gd name="connsiteY1" fmla="*/ 1618927 h 1761802"/>
                <a:gd name="connsiteX2" fmla="*/ 1583025 w 1888165"/>
                <a:gd name="connsiteY2" fmla="*/ 538807 h 1761802"/>
                <a:gd name="connsiteX3" fmla="*/ 1853943 w 1888165"/>
                <a:gd name="connsiteY3" fmla="*/ 430212 h 1761802"/>
                <a:gd name="connsiteX4" fmla="*/ 1377693 w 1888165"/>
                <a:gd name="connsiteY4" fmla="*/ 1587 h 1761802"/>
                <a:gd name="connsiteX5" fmla="*/ 396618 w 1888165"/>
                <a:gd name="connsiteY5" fmla="*/ 420687 h 1761802"/>
                <a:gd name="connsiteX6" fmla="*/ 53718 w 1888165"/>
                <a:gd name="connsiteY6" fmla="*/ 1287462 h 1761802"/>
                <a:gd name="connsiteX0" fmla="*/ 53718 w 1888165"/>
                <a:gd name="connsiteY0" fmla="*/ 1287462 h 1706006"/>
                <a:gd name="connsiteX1" fmla="*/ 718928 w 1888165"/>
                <a:gd name="connsiteY1" fmla="*/ 1618927 h 1706006"/>
                <a:gd name="connsiteX2" fmla="*/ 1583025 w 1888165"/>
                <a:gd name="connsiteY2" fmla="*/ 538807 h 1706006"/>
                <a:gd name="connsiteX3" fmla="*/ 1853943 w 1888165"/>
                <a:gd name="connsiteY3" fmla="*/ 430212 h 1706006"/>
                <a:gd name="connsiteX4" fmla="*/ 1377693 w 1888165"/>
                <a:gd name="connsiteY4" fmla="*/ 1587 h 1706006"/>
                <a:gd name="connsiteX5" fmla="*/ 396618 w 1888165"/>
                <a:gd name="connsiteY5" fmla="*/ 420687 h 1706006"/>
                <a:gd name="connsiteX6" fmla="*/ 53718 w 1888165"/>
                <a:gd name="connsiteY6" fmla="*/ 1287462 h 1706006"/>
                <a:gd name="connsiteX0" fmla="*/ 53718 w 1888165"/>
                <a:gd name="connsiteY0" fmla="*/ 1287462 h 1618927"/>
                <a:gd name="connsiteX1" fmla="*/ 718928 w 1888165"/>
                <a:gd name="connsiteY1" fmla="*/ 1618927 h 1618927"/>
                <a:gd name="connsiteX2" fmla="*/ 1583025 w 1888165"/>
                <a:gd name="connsiteY2" fmla="*/ 538807 h 1618927"/>
                <a:gd name="connsiteX3" fmla="*/ 1853943 w 1888165"/>
                <a:gd name="connsiteY3" fmla="*/ 430212 h 1618927"/>
                <a:gd name="connsiteX4" fmla="*/ 1377693 w 1888165"/>
                <a:gd name="connsiteY4" fmla="*/ 1587 h 1618927"/>
                <a:gd name="connsiteX5" fmla="*/ 396618 w 1888165"/>
                <a:gd name="connsiteY5" fmla="*/ 420687 h 1618927"/>
                <a:gd name="connsiteX6" fmla="*/ 53718 w 1888165"/>
                <a:gd name="connsiteY6" fmla="*/ 1287462 h 1618927"/>
                <a:gd name="connsiteX0" fmla="*/ 5223 w 1839670"/>
                <a:gd name="connsiteY0" fmla="*/ 1287462 h 1780287"/>
                <a:gd name="connsiteX1" fmla="*/ 379464 w 1839670"/>
                <a:gd name="connsiteY1" fmla="*/ 1506969 h 1780287"/>
                <a:gd name="connsiteX2" fmla="*/ 670433 w 1839670"/>
                <a:gd name="connsiteY2" fmla="*/ 1618927 h 1780287"/>
                <a:gd name="connsiteX3" fmla="*/ 1534530 w 1839670"/>
                <a:gd name="connsiteY3" fmla="*/ 538807 h 1780287"/>
                <a:gd name="connsiteX4" fmla="*/ 1805448 w 1839670"/>
                <a:gd name="connsiteY4" fmla="*/ 430212 h 1780287"/>
                <a:gd name="connsiteX5" fmla="*/ 1329198 w 1839670"/>
                <a:gd name="connsiteY5" fmla="*/ 1587 h 1780287"/>
                <a:gd name="connsiteX6" fmla="*/ 348123 w 1839670"/>
                <a:gd name="connsiteY6" fmla="*/ 420687 h 1780287"/>
                <a:gd name="connsiteX7" fmla="*/ 5223 w 1839670"/>
                <a:gd name="connsiteY7" fmla="*/ 1287462 h 1780287"/>
                <a:gd name="connsiteX0" fmla="*/ 500 w 1834947"/>
                <a:gd name="connsiteY0" fmla="*/ 1287462 h 1780287"/>
                <a:gd name="connsiteX1" fmla="*/ 346402 w 1834947"/>
                <a:gd name="connsiteY1" fmla="*/ 1405350 h 1780287"/>
                <a:gd name="connsiteX2" fmla="*/ 665710 w 1834947"/>
                <a:gd name="connsiteY2" fmla="*/ 1618927 h 1780287"/>
                <a:gd name="connsiteX3" fmla="*/ 1529807 w 1834947"/>
                <a:gd name="connsiteY3" fmla="*/ 538807 h 1780287"/>
                <a:gd name="connsiteX4" fmla="*/ 1800725 w 1834947"/>
                <a:gd name="connsiteY4" fmla="*/ 430212 h 1780287"/>
                <a:gd name="connsiteX5" fmla="*/ 1324475 w 1834947"/>
                <a:gd name="connsiteY5" fmla="*/ 1587 h 1780287"/>
                <a:gd name="connsiteX6" fmla="*/ 343400 w 1834947"/>
                <a:gd name="connsiteY6" fmla="*/ 420687 h 1780287"/>
                <a:gd name="connsiteX7" fmla="*/ 500 w 1834947"/>
                <a:gd name="connsiteY7" fmla="*/ 1287462 h 1780287"/>
                <a:gd name="connsiteX0" fmla="*/ 500 w 1834947"/>
                <a:gd name="connsiteY0" fmla="*/ 1287462 h 1780287"/>
                <a:gd name="connsiteX1" fmla="*/ 346402 w 1834947"/>
                <a:gd name="connsiteY1" fmla="*/ 1405350 h 1780287"/>
                <a:gd name="connsiteX2" fmla="*/ 665710 w 1834947"/>
                <a:gd name="connsiteY2" fmla="*/ 1618927 h 1780287"/>
                <a:gd name="connsiteX3" fmla="*/ 1529807 w 1834947"/>
                <a:gd name="connsiteY3" fmla="*/ 538807 h 1780287"/>
                <a:gd name="connsiteX4" fmla="*/ 1800725 w 1834947"/>
                <a:gd name="connsiteY4" fmla="*/ 430212 h 1780287"/>
                <a:gd name="connsiteX5" fmla="*/ 1324475 w 1834947"/>
                <a:gd name="connsiteY5" fmla="*/ 1587 h 1780287"/>
                <a:gd name="connsiteX6" fmla="*/ 343400 w 1834947"/>
                <a:gd name="connsiteY6" fmla="*/ 420687 h 1780287"/>
                <a:gd name="connsiteX7" fmla="*/ 500 w 1834947"/>
                <a:gd name="connsiteY7" fmla="*/ 1287462 h 1780287"/>
                <a:gd name="connsiteX0" fmla="*/ 500 w 1834947"/>
                <a:gd name="connsiteY0" fmla="*/ 1287462 h 1780287"/>
                <a:gd name="connsiteX1" fmla="*/ 346402 w 1834947"/>
                <a:gd name="connsiteY1" fmla="*/ 1405350 h 1780287"/>
                <a:gd name="connsiteX2" fmla="*/ 665710 w 1834947"/>
                <a:gd name="connsiteY2" fmla="*/ 1618927 h 1780287"/>
                <a:gd name="connsiteX3" fmla="*/ 1529807 w 1834947"/>
                <a:gd name="connsiteY3" fmla="*/ 538807 h 1780287"/>
                <a:gd name="connsiteX4" fmla="*/ 1800725 w 1834947"/>
                <a:gd name="connsiteY4" fmla="*/ 430212 h 1780287"/>
                <a:gd name="connsiteX5" fmla="*/ 1324475 w 1834947"/>
                <a:gd name="connsiteY5" fmla="*/ 1587 h 1780287"/>
                <a:gd name="connsiteX6" fmla="*/ 343400 w 1834947"/>
                <a:gd name="connsiteY6" fmla="*/ 420687 h 1780287"/>
                <a:gd name="connsiteX7" fmla="*/ 500 w 1834947"/>
                <a:gd name="connsiteY7" fmla="*/ 1287462 h 178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34947" h="1780287">
                  <a:moveTo>
                    <a:pt x="500" y="1287462"/>
                  </a:moveTo>
                  <a:cubicBezTo>
                    <a:pt x="1000" y="1451572"/>
                    <a:pt x="235534" y="1350106"/>
                    <a:pt x="346402" y="1405350"/>
                  </a:cubicBezTo>
                  <a:cubicBezTo>
                    <a:pt x="457270" y="1460594"/>
                    <a:pt x="473199" y="1780287"/>
                    <a:pt x="665710" y="1618927"/>
                  </a:cubicBezTo>
                  <a:cubicBezTo>
                    <a:pt x="905422" y="1553840"/>
                    <a:pt x="1238695" y="627021"/>
                    <a:pt x="1529807" y="538807"/>
                  </a:cubicBezTo>
                  <a:cubicBezTo>
                    <a:pt x="1820919" y="450593"/>
                    <a:pt x="1834947" y="519749"/>
                    <a:pt x="1800725" y="430212"/>
                  </a:cubicBezTo>
                  <a:cubicBezTo>
                    <a:pt x="1766503" y="340675"/>
                    <a:pt x="1567362" y="3174"/>
                    <a:pt x="1324475" y="1587"/>
                  </a:cubicBezTo>
                  <a:cubicBezTo>
                    <a:pt x="1081588" y="0"/>
                    <a:pt x="564063" y="206375"/>
                    <a:pt x="343400" y="420687"/>
                  </a:cubicBezTo>
                  <a:cubicBezTo>
                    <a:pt x="122738" y="635000"/>
                    <a:pt x="0" y="1123352"/>
                    <a:pt x="500" y="1287462"/>
                  </a:cubicBezTo>
                  <a:close/>
                </a:path>
              </a:pathLst>
            </a:custGeom>
            <a:gradFill flip="none" rotWithShape="1">
              <a:gsLst>
                <a:gs pos="74000">
                  <a:schemeClr val="bg1">
                    <a:alpha val="19000"/>
                  </a:schemeClr>
                </a:gs>
                <a:gs pos="50000">
                  <a:schemeClr val="bg1">
                    <a:alpha val="0"/>
                  </a:schemeClr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8" name="TextBox 107"/>
            <p:cNvSpPr txBox="1"/>
            <p:nvPr/>
          </p:nvSpPr>
          <p:spPr>
            <a:xfrm>
              <a:off x="7583622" y="3653921"/>
              <a:ext cx="90010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20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2006</a:t>
              </a:r>
              <a:endParaRPr lang="ko-KR" altLang="en-US" sz="2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09" name="Group 108"/>
          <p:cNvGrpSpPr/>
          <p:nvPr/>
        </p:nvGrpSpPr>
        <p:grpSpPr>
          <a:xfrm>
            <a:off x="1810319" y="3408549"/>
            <a:ext cx="1060684" cy="1060686"/>
            <a:chOff x="7499374" y="3309532"/>
            <a:chExt cx="1060684" cy="1060686"/>
          </a:xfrm>
        </p:grpSpPr>
        <p:sp>
          <p:nvSpPr>
            <p:cNvPr id="110" name="타원 37"/>
            <p:cNvSpPr/>
            <p:nvPr/>
          </p:nvSpPr>
          <p:spPr>
            <a:xfrm>
              <a:off x="7534704" y="3355008"/>
              <a:ext cx="997937" cy="997937"/>
            </a:xfrm>
            <a:prstGeom prst="ellipse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ko-KR" altLang="en-US" sz="16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1" name="타원 82"/>
            <p:cNvSpPr/>
            <p:nvPr/>
          </p:nvSpPr>
          <p:spPr>
            <a:xfrm>
              <a:off x="7499374" y="3309532"/>
              <a:ext cx="1060684" cy="1060686"/>
            </a:xfrm>
            <a:prstGeom prst="ellipse">
              <a:avLst/>
            </a:prstGeom>
            <a:gradFill flip="none" rotWithShape="1">
              <a:gsLst>
                <a:gs pos="62000">
                  <a:schemeClr val="bg1">
                    <a:alpha val="0"/>
                  </a:schemeClr>
                </a:gs>
                <a:gs pos="4500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solidFill>
                <a:schemeClr val="bg1"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2" name="Oval 28"/>
            <p:cNvSpPr>
              <a:spLocks noChangeArrowheads="1"/>
            </p:cNvSpPr>
            <p:nvPr/>
          </p:nvSpPr>
          <p:spPr bwMode="auto">
            <a:xfrm flipH="1">
              <a:off x="7613472" y="3418805"/>
              <a:ext cx="336254" cy="301391"/>
            </a:xfrm>
            <a:prstGeom prst="ellipse">
              <a:avLst/>
            </a:prstGeom>
            <a:gradFill rotWithShape="1">
              <a:gsLst>
                <a:gs pos="0">
                  <a:schemeClr val="bg1">
                    <a:alpha val="65000"/>
                  </a:schemeClr>
                </a:gs>
                <a:gs pos="100000">
                  <a:srgbClr val="67ABF5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kumimoji="0" lang="ko-KR" altLang="en-US">
                <a:latin typeface="Arial" pitchFamily="34" charset="0"/>
                <a:ea typeface="맑은 고딕" pitchFamily="50" charset="-127"/>
                <a:cs typeface="Arial" pitchFamily="34" charset="0"/>
              </a:endParaRPr>
            </a:p>
          </p:txBody>
        </p:sp>
        <p:sp>
          <p:nvSpPr>
            <p:cNvPr id="113" name="자유형 85"/>
            <p:cNvSpPr/>
            <p:nvPr/>
          </p:nvSpPr>
          <p:spPr>
            <a:xfrm rot="5398342">
              <a:off x="7881510" y="3366153"/>
              <a:ext cx="671794" cy="651781"/>
            </a:xfrm>
            <a:custGeom>
              <a:avLst/>
              <a:gdLst>
                <a:gd name="connsiteX0" fmla="*/ 0 w 1800225"/>
                <a:gd name="connsiteY0" fmla="*/ 1285875 h 1409700"/>
                <a:gd name="connsiteX1" fmla="*/ 723900 w 1800225"/>
                <a:gd name="connsiteY1" fmla="*/ 1409700 h 1409700"/>
                <a:gd name="connsiteX2" fmla="*/ 1800225 w 1800225"/>
                <a:gd name="connsiteY2" fmla="*/ 428625 h 1409700"/>
                <a:gd name="connsiteX3" fmla="*/ 1323975 w 1800225"/>
                <a:gd name="connsiteY3" fmla="*/ 0 h 1409700"/>
                <a:gd name="connsiteX4" fmla="*/ 342900 w 1800225"/>
                <a:gd name="connsiteY4" fmla="*/ 419100 h 1409700"/>
                <a:gd name="connsiteX5" fmla="*/ 0 w 1800225"/>
                <a:gd name="connsiteY5" fmla="*/ 1285875 h 1409700"/>
                <a:gd name="connsiteX0" fmla="*/ 63500 w 1863725"/>
                <a:gd name="connsiteY0" fmla="*/ 1287462 h 1411287"/>
                <a:gd name="connsiteX1" fmla="*/ 787400 w 1863725"/>
                <a:gd name="connsiteY1" fmla="*/ 1411287 h 1411287"/>
                <a:gd name="connsiteX2" fmla="*/ 1863725 w 1863725"/>
                <a:gd name="connsiteY2" fmla="*/ 430212 h 1411287"/>
                <a:gd name="connsiteX3" fmla="*/ 1387475 w 1863725"/>
                <a:gd name="connsiteY3" fmla="*/ 1587 h 1411287"/>
                <a:gd name="connsiteX4" fmla="*/ 406400 w 1863725"/>
                <a:gd name="connsiteY4" fmla="*/ 420687 h 1411287"/>
                <a:gd name="connsiteX5" fmla="*/ 63500 w 1863725"/>
                <a:gd name="connsiteY5" fmla="*/ 1287462 h 1411287"/>
                <a:gd name="connsiteX0" fmla="*/ 63500 w 1963738"/>
                <a:gd name="connsiteY0" fmla="*/ 1287462 h 1411287"/>
                <a:gd name="connsiteX1" fmla="*/ 787400 w 1963738"/>
                <a:gd name="connsiteY1" fmla="*/ 1411287 h 1411287"/>
                <a:gd name="connsiteX2" fmla="*/ 1863725 w 1963738"/>
                <a:gd name="connsiteY2" fmla="*/ 430212 h 1411287"/>
                <a:gd name="connsiteX3" fmla="*/ 1387475 w 1963738"/>
                <a:gd name="connsiteY3" fmla="*/ 1587 h 1411287"/>
                <a:gd name="connsiteX4" fmla="*/ 406400 w 1963738"/>
                <a:gd name="connsiteY4" fmla="*/ 420687 h 1411287"/>
                <a:gd name="connsiteX5" fmla="*/ 63500 w 1963738"/>
                <a:gd name="connsiteY5" fmla="*/ 1287462 h 1411287"/>
                <a:gd name="connsiteX0" fmla="*/ 63500 w 1963738"/>
                <a:gd name="connsiteY0" fmla="*/ 1287462 h 1554162"/>
                <a:gd name="connsiteX1" fmla="*/ 787400 w 1963738"/>
                <a:gd name="connsiteY1" fmla="*/ 1411287 h 1554162"/>
                <a:gd name="connsiteX2" fmla="*/ 1863725 w 1963738"/>
                <a:gd name="connsiteY2" fmla="*/ 430212 h 1554162"/>
                <a:gd name="connsiteX3" fmla="*/ 1387475 w 1963738"/>
                <a:gd name="connsiteY3" fmla="*/ 1587 h 1554162"/>
                <a:gd name="connsiteX4" fmla="*/ 406400 w 1963738"/>
                <a:gd name="connsiteY4" fmla="*/ 420687 h 1554162"/>
                <a:gd name="connsiteX5" fmla="*/ 63500 w 1963738"/>
                <a:gd name="connsiteY5" fmla="*/ 1287462 h 1554162"/>
                <a:gd name="connsiteX0" fmla="*/ 63500 w 1963738"/>
                <a:gd name="connsiteY0" fmla="*/ 1287462 h 1554162"/>
                <a:gd name="connsiteX1" fmla="*/ 787400 w 1963738"/>
                <a:gd name="connsiteY1" fmla="*/ 1411287 h 1554162"/>
                <a:gd name="connsiteX2" fmla="*/ 1863725 w 1963738"/>
                <a:gd name="connsiteY2" fmla="*/ 430212 h 1554162"/>
                <a:gd name="connsiteX3" fmla="*/ 1387475 w 1963738"/>
                <a:gd name="connsiteY3" fmla="*/ 1587 h 1554162"/>
                <a:gd name="connsiteX4" fmla="*/ 406400 w 1963738"/>
                <a:gd name="connsiteY4" fmla="*/ 420687 h 1554162"/>
                <a:gd name="connsiteX5" fmla="*/ 63500 w 1963738"/>
                <a:gd name="connsiteY5" fmla="*/ 1287462 h 1554162"/>
                <a:gd name="connsiteX0" fmla="*/ 63500 w 1963738"/>
                <a:gd name="connsiteY0" fmla="*/ 1287462 h 1554162"/>
                <a:gd name="connsiteX1" fmla="*/ 787400 w 1963738"/>
                <a:gd name="connsiteY1" fmla="*/ 1411287 h 1554162"/>
                <a:gd name="connsiteX2" fmla="*/ 1863725 w 1963738"/>
                <a:gd name="connsiteY2" fmla="*/ 430212 h 1554162"/>
                <a:gd name="connsiteX3" fmla="*/ 1387475 w 1963738"/>
                <a:gd name="connsiteY3" fmla="*/ 1587 h 1554162"/>
                <a:gd name="connsiteX4" fmla="*/ 406400 w 1963738"/>
                <a:gd name="connsiteY4" fmla="*/ 420687 h 1554162"/>
                <a:gd name="connsiteX5" fmla="*/ 63500 w 1963738"/>
                <a:gd name="connsiteY5" fmla="*/ 1287462 h 1554162"/>
                <a:gd name="connsiteX0" fmla="*/ 41717 w 1963737"/>
                <a:gd name="connsiteY0" fmla="*/ 1287462 h 1689794"/>
                <a:gd name="connsiteX1" fmla="*/ 634920 w 1963737"/>
                <a:gd name="connsiteY1" fmla="*/ 1546919 h 1689794"/>
                <a:gd name="connsiteX2" fmla="*/ 1841942 w 1963737"/>
                <a:gd name="connsiteY2" fmla="*/ 430212 h 1689794"/>
                <a:gd name="connsiteX3" fmla="*/ 1365692 w 1963737"/>
                <a:gd name="connsiteY3" fmla="*/ 1587 h 1689794"/>
                <a:gd name="connsiteX4" fmla="*/ 384617 w 1963737"/>
                <a:gd name="connsiteY4" fmla="*/ 420687 h 1689794"/>
                <a:gd name="connsiteX5" fmla="*/ 41717 w 1963737"/>
                <a:gd name="connsiteY5" fmla="*/ 1287462 h 1689794"/>
                <a:gd name="connsiteX0" fmla="*/ 41717 w 1860992"/>
                <a:gd name="connsiteY0" fmla="*/ 1287462 h 1689794"/>
                <a:gd name="connsiteX1" fmla="*/ 634920 w 1860992"/>
                <a:gd name="connsiteY1" fmla="*/ 1546919 h 1689794"/>
                <a:gd name="connsiteX2" fmla="*/ 1479991 w 1860992"/>
                <a:gd name="connsiteY2" fmla="*/ 896937 h 1689794"/>
                <a:gd name="connsiteX3" fmla="*/ 1841942 w 1860992"/>
                <a:gd name="connsiteY3" fmla="*/ 430212 h 1689794"/>
                <a:gd name="connsiteX4" fmla="*/ 1365692 w 1860992"/>
                <a:gd name="connsiteY4" fmla="*/ 1587 h 1689794"/>
                <a:gd name="connsiteX5" fmla="*/ 384617 w 1860992"/>
                <a:gd name="connsiteY5" fmla="*/ 420687 h 1689794"/>
                <a:gd name="connsiteX6" fmla="*/ 41717 w 1860992"/>
                <a:gd name="connsiteY6" fmla="*/ 1287462 h 1689794"/>
                <a:gd name="connsiteX0" fmla="*/ 41717 w 1843724"/>
                <a:gd name="connsiteY0" fmla="*/ 1287462 h 1689794"/>
                <a:gd name="connsiteX1" fmla="*/ 634920 w 1843724"/>
                <a:gd name="connsiteY1" fmla="*/ 1546919 h 1689794"/>
                <a:gd name="connsiteX2" fmla="*/ 1355000 w 1843724"/>
                <a:gd name="connsiteY2" fmla="*/ 466799 h 1689794"/>
                <a:gd name="connsiteX3" fmla="*/ 1841942 w 1843724"/>
                <a:gd name="connsiteY3" fmla="*/ 430212 h 1689794"/>
                <a:gd name="connsiteX4" fmla="*/ 1365692 w 1843724"/>
                <a:gd name="connsiteY4" fmla="*/ 1587 h 1689794"/>
                <a:gd name="connsiteX5" fmla="*/ 384617 w 1843724"/>
                <a:gd name="connsiteY5" fmla="*/ 420687 h 1689794"/>
                <a:gd name="connsiteX6" fmla="*/ 41717 w 1843724"/>
                <a:gd name="connsiteY6" fmla="*/ 1287462 h 1689794"/>
                <a:gd name="connsiteX0" fmla="*/ 41717 w 1843724"/>
                <a:gd name="connsiteY0" fmla="*/ 1287462 h 1689794"/>
                <a:gd name="connsiteX1" fmla="*/ 634920 w 1843724"/>
                <a:gd name="connsiteY1" fmla="*/ 1546919 h 1689794"/>
                <a:gd name="connsiteX2" fmla="*/ 1355000 w 1843724"/>
                <a:gd name="connsiteY2" fmla="*/ 466799 h 1689794"/>
                <a:gd name="connsiteX3" fmla="*/ 1841942 w 1843724"/>
                <a:gd name="connsiteY3" fmla="*/ 430212 h 1689794"/>
                <a:gd name="connsiteX4" fmla="*/ 1365692 w 1843724"/>
                <a:gd name="connsiteY4" fmla="*/ 1587 h 1689794"/>
                <a:gd name="connsiteX5" fmla="*/ 384617 w 1843724"/>
                <a:gd name="connsiteY5" fmla="*/ 420687 h 1689794"/>
                <a:gd name="connsiteX6" fmla="*/ 41717 w 1843724"/>
                <a:gd name="connsiteY6" fmla="*/ 1287462 h 1689794"/>
                <a:gd name="connsiteX0" fmla="*/ 41717 w 1855725"/>
                <a:gd name="connsiteY0" fmla="*/ 1287462 h 1689794"/>
                <a:gd name="connsiteX1" fmla="*/ 634920 w 1855725"/>
                <a:gd name="connsiteY1" fmla="*/ 1546919 h 1689794"/>
                <a:gd name="connsiteX2" fmla="*/ 1282992 w 1855725"/>
                <a:gd name="connsiteY2" fmla="*/ 322783 h 1689794"/>
                <a:gd name="connsiteX3" fmla="*/ 1841942 w 1855725"/>
                <a:gd name="connsiteY3" fmla="*/ 430212 h 1689794"/>
                <a:gd name="connsiteX4" fmla="*/ 1365692 w 1855725"/>
                <a:gd name="connsiteY4" fmla="*/ 1587 h 1689794"/>
                <a:gd name="connsiteX5" fmla="*/ 384617 w 1855725"/>
                <a:gd name="connsiteY5" fmla="*/ 420687 h 1689794"/>
                <a:gd name="connsiteX6" fmla="*/ 41717 w 1855725"/>
                <a:gd name="connsiteY6" fmla="*/ 1287462 h 1689794"/>
                <a:gd name="connsiteX0" fmla="*/ 41717 w 1876164"/>
                <a:gd name="connsiteY0" fmla="*/ 1287462 h 1689794"/>
                <a:gd name="connsiteX1" fmla="*/ 634920 w 1876164"/>
                <a:gd name="connsiteY1" fmla="*/ 1546919 h 1689794"/>
                <a:gd name="connsiteX2" fmla="*/ 1571024 w 1876164"/>
                <a:gd name="connsiteY2" fmla="*/ 538807 h 1689794"/>
                <a:gd name="connsiteX3" fmla="*/ 1841942 w 1876164"/>
                <a:gd name="connsiteY3" fmla="*/ 430212 h 1689794"/>
                <a:gd name="connsiteX4" fmla="*/ 1365692 w 1876164"/>
                <a:gd name="connsiteY4" fmla="*/ 1587 h 1689794"/>
                <a:gd name="connsiteX5" fmla="*/ 384617 w 1876164"/>
                <a:gd name="connsiteY5" fmla="*/ 420687 h 1689794"/>
                <a:gd name="connsiteX6" fmla="*/ 41717 w 1876164"/>
                <a:gd name="connsiteY6" fmla="*/ 1287462 h 1689794"/>
                <a:gd name="connsiteX0" fmla="*/ 53718 w 1888165"/>
                <a:gd name="connsiteY0" fmla="*/ 1287462 h 1761802"/>
                <a:gd name="connsiteX1" fmla="*/ 718928 w 1888165"/>
                <a:gd name="connsiteY1" fmla="*/ 1618927 h 1761802"/>
                <a:gd name="connsiteX2" fmla="*/ 1583025 w 1888165"/>
                <a:gd name="connsiteY2" fmla="*/ 538807 h 1761802"/>
                <a:gd name="connsiteX3" fmla="*/ 1853943 w 1888165"/>
                <a:gd name="connsiteY3" fmla="*/ 430212 h 1761802"/>
                <a:gd name="connsiteX4" fmla="*/ 1377693 w 1888165"/>
                <a:gd name="connsiteY4" fmla="*/ 1587 h 1761802"/>
                <a:gd name="connsiteX5" fmla="*/ 396618 w 1888165"/>
                <a:gd name="connsiteY5" fmla="*/ 420687 h 1761802"/>
                <a:gd name="connsiteX6" fmla="*/ 53718 w 1888165"/>
                <a:gd name="connsiteY6" fmla="*/ 1287462 h 1761802"/>
                <a:gd name="connsiteX0" fmla="*/ 53718 w 1888165"/>
                <a:gd name="connsiteY0" fmla="*/ 1287462 h 1761802"/>
                <a:gd name="connsiteX1" fmla="*/ 718928 w 1888165"/>
                <a:gd name="connsiteY1" fmla="*/ 1618927 h 1761802"/>
                <a:gd name="connsiteX2" fmla="*/ 1583025 w 1888165"/>
                <a:gd name="connsiteY2" fmla="*/ 538807 h 1761802"/>
                <a:gd name="connsiteX3" fmla="*/ 1853943 w 1888165"/>
                <a:gd name="connsiteY3" fmla="*/ 430212 h 1761802"/>
                <a:gd name="connsiteX4" fmla="*/ 1377693 w 1888165"/>
                <a:gd name="connsiteY4" fmla="*/ 1587 h 1761802"/>
                <a:gd name="connsiteX5" fmla="*/ 396618 w 1888165"/>
                <a:gd name="connsiteY5" fmla="*/ 420687 h 1761802"/>
                <a:gd name="connsiteX6" fmla="*/ 53718 w 1888165"/>
                <a:gd name="connsiteY6" fmla="*/ 1287462 h 1761802"/>
                <a:gd name="connsiteX0" fmla="*/ 53718 w 1888165"/>
                <a:gd name="connsiteY0" fmla="*/ 1287462 h 1706006"/>
                <a:gd name="connsiteX1" fmla="*/ 718928 w 1888165"/>
                <a:gd name="connsiteY1" fmla="*/ 1618927 h 1706006"/>
                <a:gd name="connsiteX2" fmla="*/ 1583025 w 1888165"/>
                <a:gd name="connsiteY2" fmla="*/ 538807 h 1706006"/>
                <a:gd name="connsiteX3" fmla="*/ 1853943 w 1888165"/>
                <a:gd name="connsiteY3" fmla="*/ 430212 h 1706006"/>
                <a:gd name="connsiteX4" fmla="*/ 1377693 w 1888165"/>
                <a:gd name="connsiteY4" fmla="*/ 1587 h 1706006"/>
                <a:gd name="connsiteX5" fmla="*/ 396618 w 1888165"/>
                <a:gd name="connsiteY5" fmla="*/ 420687 h 1706006"/>
                <a:gd name="connsiteX6" fmla="*/ 53718 w 1888165"/>
                <a:gd name="connsiteY6" fmla="*/ 1287462 h 1706006"/>
                <a:gd name="connsiteX0" fmla="*/ 53718 w 1888165"/>
                <a:gd name="connsiteY0" fmla="*/ 1287462 h 1618927"/>
                <a:gd name="connsiteX1" fmla="*/ 718928 w 1888165"/>
                <a:gd name="connsiteY1" fmla="*/ 1618927 h 1618927"/>
                <a:gd name="connsiteX2" fmla="*/ 1583025 w 1888165"/>
                <a:gd name="connsiteY2" fmla="*/ 538807 h 1618927"/>
                <a:gd name="connsiteX3" fmla="*/ 1853943 w 1888165"/>
                <a:gd name="connsiteY3" fmla="*/ 430212 h 1618927"/>
                <a:gd name="connsiteX4" fmla="*/ 1377693 w 1888165"/>
                <a:gd name="connsiteY4" fmla="*/ 1587 h 1618927"/>
                <a:gd name="connsiteX5" fmla="*/ 396618 w 1888165"/>
                <a:gd name="connsiteY5" fmla="*/ 420687 h 1618927"/>
                <a:gd name="connsiteX6" fmla="*/ 53718 w 1888165"/>
                <a:gd name="connsiteY6" fmla="*/ 1287462 h 1618927"/>
                <a:gd name="connsiteX0" fmla="*/ 5223 w 1839670"/>
                <a:gd name="connsiteY0" fmla="*/ 1287462 h 1780287"/>
                <a:gd name="connsiteX1" fmla="*/ 379464 w 1839670"/>
                <a:gd name="connsiteY1" fmla="*/ 1506969 h 1780287"/>
                <a:gd name="connsiteX2" fmla="*/ 670433 w 1839670"/>
                <a:gd name="connsiteY2" fmla="*/ 1618927 h 1780287"/>
                <a:gd name="connsiteX3" fmla="*/ 1534530 w 1839670"/>
                <a:gd name="connsiteY3" fmla="*/ 538807 h 1780287"/>
                <a:gd name="connsiteX4" fmla="*/ 1805448 w 1839670"/>
                <a:gd name="connsiteY4" fmla="*/ 430212 h 1780287"/>
                <a:gd name="connsiteX5" fmla="*/ 1329198 w 1839670"/>
                <a:gd name="connsiteY5" fmla="*/ 1587 h 1780287"/>
                <a:gd name="connsiteX6" fmla="*/ 348123 w 1839670"/>
                <a:gd name="connsiteY6" fmla="*/ 420687 h 1780287"/>
                <a:gd name="connsiteX7" fmla="*/ 5223 w 1839670"/>
                <a:gd name="connsiteY7" fmla="*/ 1287462 h 1780287"/>
                <a:gd name="connsiteX0" fmla="*/ 500 w 1834947"/>
                <a:gd name="connsiteY0" fmla="*/ 1287462 h 1780287"/>
                <a:gd name="connsiteX1" fmla="*/ 346402 w 1834947"/>
                <a:gd name="connsiteY1" fmla="*/ 1405350 h 1780287"/>
                <a:gd name="connsiteX2" fmla="*/ 665710 w 1834947"/>
                <a:gd name="connsiteY2" fmla="*/ 1618927 h 1780287"/>
                <a:gd name="connsiteX3" fmla="*/ 1529807 w 1834947"/>
                <a:gd name="connsiteY3" fmla="*/ 538807 h 1780287"/>
                <a:gd name="connsiteX4" fmla="*/ 1800725 w 1834947"/>
                <a:gd name="connsiteY4" fmla="*/ 430212 h 1780287"/>
                <a:gd name="connsiteX5" fmla="*/ 1324475 w 1834947"/>
                <a:gd name="connsiteY5" fmla="*/ 1587 h 1780287"/>
                <a:gd name="connsiteX6" fmla="*/ 343400 w 1834947"/>
                <a:gd name="connsiteY6" fmla="*/ 420687 h 1780287"/>
                <a:gd name="connsiteX7" fmla="*/ 500 w 1834947"/>
                <a:gd name="connsiteY7" fmla="*/ 1287462 h 1780287"/>
                <a:gd name="connsiteX0" fmla="*/ 500 w 1834947"/>
                <a:gd name="connsiteY0" fmla="*/ 1287462 h 1780287"/>
                <a:gd name="connsiteX1" fmla="*/ 346402 w 1834947"/>
                <a:gd name="connsiteY1" fmla="*/ 1405350 h 1780287"/>
                <a:gd name="connsiteX2" fmla="*/ 665710 w 1834947"/>
                <a:gd name="connsiteY2" fmla="*/ 1618927 h 1780287"/>
                <a:gd name="connsiteX3" fmla="*/ 1529807 w 1834947"/>
                <a:gd name="connsiteY3" fmla="*/ 538807 h 1780287"/>
                <a:gd name="connsiteX4" fmla="*/ 1800725 w 1834947"/>
                <a:gd name="connsiteY4" fmla="*/ 430212 h 1780287"/>
                <a:gd name="connsiteX5" fmla="*/ 1324475 w 1834947"/>
                <a:gd name="connsiteY5" fmla="*/ 1587 h 1780287"/>
                <a:gd name="connsiteX6" fmla="*/ 343400 w 1834947"/>
                <a:gd name="connsiteY6" fmla="*/ 420687 h 1780287"/>
                <a:gd name="connsiteX7" fmla="*/ 500 w 1834947"/>
                <a:gd name="connsiteY7" fmla="*/ 1287462 h 1780287"/>
                <a:gd name="connsiteX0" fmla="*/ 500 w 1834947"/>
                <a:gd name="connsiteY0" fmla="*/ 1287462 h 1780287"/>
                <a:gd name="connsiteX1" fmla="*/ 346402 w 1834947"/>
                <a:gd name="connsiteY1" fmla="*/ 1405350 h 1780287"/>
                <a:gd name="connsiteX2" fmla="*/ 665710 w 1834947"/>
                <a:gd name="connsiteY2" fmla="*/ 1618927 h 1780287"/>
                <a:gd name="connsiteX3" fmla="*/ 1529807 w 1834947"/>
                <a:gd name="connsiteY3" fmla="*/ 538807 h 1780287"/>
                <a:gd name="connsiteX4" fmla="*/ 1800725 w 1834947"/>
                <a:gd name="connsiteY4" fmla="*/ 430212 h 1780287"/>
                <a:gd name="connsiteX5" fmla="*/ 1324475 w 1834947"/>
                <a:gd name="connsiteY5" fmla="*/ 1587 h 1780287"/>
                <a:gd name="connsiteX6" fmla="*/ 343400 w 1834947"/>
                <a:gd name="connsiteY6" fmla="*/ 420687 h 1780287"/>
                <a:gd name="connsiteX7" fmla="*/ 500 w 1834947"/>
                <a:gd name="connsiteY7" fmla="*/ 1287462 h 178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34947" h="1780287">
                  <a:moveTo>
                    <a:pt x="500" y="1287462"/>
                  </a:moveTo>
                  <a:cubicBezTo>
                    <a:pt x="1000" y="1451572"/>
                    <a:pt x="235534" y="1350106"/>
                    <a:pt x="346402" y="1405350"/>
                  </a:cubicBezTo>
                  <a:cubicBezTo>
                    <a:pt x="457270" y="1460594"/>
                    <a:pt x="473199" y="1780287"/>
                    <a:pt x="665710" y="1618927"/>
                  </a:cubicBezTo>
                  <a:cubicBezTo>
                    <a:pt x="905422" y="1553840"/>
                    <a:pt x="1238695" y="627021"/>
                    <a:pt x="1529807" y="538807"/>
                  </a:cubicBezTo>
                  <a:cubicBezTo>
                    <a:pt x="1820919" y="450593"/>
                    <a:pt x="1834947" y="519749"/>
                    <a:pt x="1800725" y="430212"/>
                  </a:cubicBezTo>
                  <a:cubicBezTo>
                    <a:pt x="1766503" y="340675"/>
                    <a:pt x="1567362" y="3174"/>
                    <a:pt x="1324475" y="1587"/>
                  </a:cubicBezTo>
                  <a:cubicBezTo>
                    <a:pt x="1081588" y="0"/>
                    <a:pt x="564063" y="206375"/>
                    <a:pt x="343400" y="420687"/>
                  </a:cubicBezTo>
                  <a:cubicBezTo>
                    <a:pt x="122738" y="635000"/>
                    <a:pt x="0" y="1123352"/>
                    <a:pt x="500" y="1287462"/>
                  </a:cubicBezTo>
                  <a:close/>
                </a:path>
              </a:pathLst>
            </a:custGeom>
            <a:gradFill flip="none" rotWithShape="1">
              <a:gsLst>
                <a:gs pos="74000">
                  <a:schemeClr val="bg1">
                    <a:alpha val="19000"/>
                  </a:schemeClr>
                </a:gs>
                <a:gs pos="50000">
                  <a:schemeClr val="bg1">
                    <a:alpha val="0"/>
                  </a:schemeClr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4" name="TextBox 113"/>
            <p:cNvSpPr txBox="1"/>
            <p:nvPr/>
          </p:nvSpPr>
          <p:spPr>
            <a:xfrm>
              <a:off x="7583622" y="3653921"/>
              <a:ext cx="90010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20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2004</a:t>
              </a:r>
              <a:endParaRPr lang="ko-KR" altLang="en-US" sz="2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369175" y="3431053"/>
            <a:ext cx="1060684" cy="1060686"/>
            <a:chOff x="7499374" y="3309532"/>
            <a:chExt cx="1060684" cy="1060686"/>
          </a:xfrm>
        </p:grpSpPr>
        <p:sp>
          <p:nvSpPr>
            <p:cNvPr id="116" name="타원 37"/>
            <p:cNvSpPr/>
            <p:nvPr/>
          </p:nvSpPr>
          <p:spPr>
            <a:xfrm>
              <a:off x="7534704" y="3355008"/>
              <a:ext cx="997937" cy="997937"/>
            </a:xfrm>
            <a:prstGeom prst="ellipse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numCol="1" rtlCol="0" anchor="ctr"/>
            <a:lstStyle/>
            <a:p>
              <a:pPr algn="ctr"/>
              <a:endParaRPr lang="ko-KR" altLang="en-US" sz="16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7" name="타원 82"/>
            <p:cNvSpPr/>
            <p:nvPr/>
          </p:nvSpPr>
          <p:spPr>
            <a:xfrm>
              <a:off x="7499374" y="3309532"/>
              <a:ext cx="1060684" cy="1060686"/>
            </a:xfrm>
            <a:prstGeom prst="ellipse">
              <a:avLst/>
            </a:prstGeom>
            <a:gradFill flip="none" rotWithShape="1">
              <a:gsLst>
                <a:gs pos="62000">
                  <a:schemeClr val="bg1">
                    <a:alpha val="0"/>
                  </a:schemeClr>
                </a:gs>
                <a:gs pos="4500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>
              <a:solidFill>
                <a:schemeClr val="bg1">
                  <a:alpha val="25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8" name="Oval 28"/>
            <p:cNvSpPr>
              <a:spLocks noChangeArrowheads="1"/>
            </p:cNvSpPr>
            <p:nvPr/>
          </p:nvSpPr>
          <p:spPr bwMode="auto">
            <a:xfrm flipH="1">
              <a:off x="7613472" y="3418805"/>
              <a:ext cx="336254" cy="301391"/>
            </a:xfrm>
            <a:prstGeom prst="ellipse">
              <a:avLst/>
            </a:prstGeom>
            <a:gradFill rotWithShape="1">
              <a:gsLst>
                <a:gs pos="0">
                  <a:schemeClr val="bg1">
                    <a:alpha val="65000"/>
                  </a:schemeClr>
                </a:gs>
                <a:gs pos="100000">
                  <a:srgbClr val="67ABF5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kumimoji="0" lang="ko-KR" altLang="en-US">
                <a:latin typeface="Arial" pitchFamily="34" charset="0"/>
                <a:ea typeface="맑은 고딕" pitchFamily="50" charset="-127"/>
                <a:cs typeface="Arial" pitchFamily="34" charset="0"/>
              </a:endParaRPr>
            </a:p>
          </p:txBody>
        </p:sp>
        <p:sp>
          <p:nvSpPr>
            <p:cNvPr id="119" name="자유형 85"/>
            <p:cNvSpPr/>
            <p:nvPr/>
          </p:nvSpPr>
          <p:spPr>
            <a:xfrm rot="5398342">
              <a:off x="7881510" y="3366153"/>
              <a:ext cx="671794" cy="651781"/>
            </a:xfrm>
            <a:custGeom>
              <a:avLst/>
              <a:gdLst>
                <a:gd name="connsiteX0" fmla="*/ 0 w 1800225"/>
                <a:gd name="connsiteY0" fmla="*/ 1285875 h 1409700"/>
                <a:gd name="connsiteX1" fmla="*/ 723900 w 1800225"/>
                <a:gd name="connsiteY1" fmla="*/ 1409700 h 1409700"/>
                <a:gd name="connsiteX2" fmla="*/ 1800225 w 1800225"/>
                <a:gd name="connsiteY2" fmla="*/ 428625 h 1409700"/>
                <a:gd name="connsiteX3" fmla="*/ 1323975 w 1800225"/>
                <a:gd name="connsiteY3" fmla="*/ 0 h 1409700"/>
                <a:gd name="connsiteX4" fmla="*/ 342900 w 1800225"/>
                <a:gd name="connsiteY4" fmla="*/ 419100 h 1409700"/>
                <a:gd name="connsiteX5" fmla="*/ 0 w 1800225"/>
                <a:gd name="connsiteY5" fmla="*/ 1285875 h 1409700"/>
                <a:gd name="connsiteX0" fmla="*/ 63500 w 1863725"/>
                <a:gd name="connsiteY0" fmla="*/ 1287462 h 1411287"/>
                <a:gd name="connsiteX1" fmla="*/ 787400 w 1863725"/>
                <a:gd name="connsiteY1" fmla="*/ 1411287 h 1411287"/>
                <a:gd name="connsiteX2" fmla="*/ 1863725 w 1863725"/>
                <a:gd name="connsiteY2" fmla="*/ 430212 h 1411287"/>
                <a:gd name="connsiteX3" fmla="*/ 1387475 w 1863725"/>
                <a:gd name="connsiteY3" fmla="*/ 1587 h 1411287"/>
                <a:gd name="connsiteX4" fmla="*/ 406400 w 1863725"/>
                <a:gd name="connsiteY4" fmla="*/ 420687 h 1411287"/>
                <a:gd name="connsiteX5" fmla="*/ 63500 w 1863725"/>
                <a:gd name="connsiteY5" fmla="*/ 1287462 h 1411287"/>
                <a:gd name="connsiteX0" fmla="*/ 63500 w 1963738"/>
                <a:gd name="connsiteY0" fmla="*/ 1287462 h 1411287"/>
                <a:gd name="connsiteX1" fmla="*/ 787400 w 1963738"/>
                <a:gd name="connsiteY1" fmla="*/ 1411287 h 1411287"/>
                <a:gd name="connsiteX2" fmla="*/ 1863725 w 1963738"/>
                <a:gd name="connsiteY2" fmla="*/ 430212 h 1411287"/>
                <a:gd name="connsiteX3" fmla="*/ 1387475 w 1963738"/>
                <a:gd name="connsiteY3" fmla="*/ 1587 h 1411287"/>
                <a:gd name="connsiteX4" fmla="*/ 406400 w 1963738"/>
                <a:gd name="connsiteY4" fmla="*/ 420687 h 1411287"/>
                <a:gd name="connsiteX5" fmla="*/ 63500 w 1963738"/>
                <a:gd name="connsiteY5" fmla="*/ 1287462 h 1411287"/>
                <a:gd name="connsiteX0" fmla="*/ 63500 w 1963738"/>
                <a:gd name="connsiteY0" fmla="*/ 1287462 h 1554162"/>
                <a:gd name="connsiteX1" fmla="*/ 787400 w 1963738"/>
                <a:gd name="connsiteY1" fmla="*/ 1411287 h 1554162"/>
                <a:gd name="connsiteX2" fmla="*/ 1863725 w 1963738"/>
                <a:gd name="connsiteY2" fmla="*/ 430212 h 1554162"/>
                <a:gd name="connsiteX3" fmla="*/ 1387475 w 1963738"/>
                <a:gd name="connsiteY3" fmla="*/ 1587 h 1554162"/>
                <a:gd name="connsiteX4" fmla="*/ 406400 w 1963738"/>
                <a:gd name="connsiteY4" fmla="*/ 420687 h 1554162"/>
                <a:gd name="connsiteX5" fmla="*/ 63500 w 1963738"/>
                <a:gd name="connsiteY5" fmla="*/ 1287462 h 1554162"/>
                <a:gd name="connsiteX0" fmla="*/ 63500 w 1963738"/>
                <a:gd name="connsiteY0" fmla="*/ 1287462 h 1554162"/>
                <a:gd name="connsiteX1" fmla="*/ 787400 w 1963738"/>
                <a:gd name="connsiteY1" fmla="*/ 1411287 h 1554162"/>
                <a:gd name="connsiteX2" fmla="*/ 1863725 w 1963738"/>
                <a:gd name="connsiteY2" fmla="*/ 430212 h 1554162"/>
                <a:gd name="connsiteX3" fmla="*/ 1387475 w 1963738"/>
                <a:gd name="connsiteY3" fmla="*/ 1587 h 1554162"/>
                <a:gd name="connsiteX4" fmla="*/ 406400 w 1963738"/>
                <a:gd name="connsiteY4" fmla="*/ 420687 h 1554162"/>
                <a:gd name="connsiteX5" fmla="*/ 63500 w 1963738"/>
                <a:gd name="connsiteY5" fmla="*/ 1287462 h 1554162"/>
                <a:gd name="connsiteX0" fmla="*/ 63500 w 1963738"/>
                <a:gd name="connsiteY0" fmla="*/ 1287462 h 1554162"/>
                <a:gd name="connsiteX1" fmla="*/ 787400 w 1963738"/>
                <a:gd name="connsiteY1" fmla="*/ 1411287 h 1554162"/>
                <a:gd name="connsiteX2" fmla="*/ 1863725 w 1963738"/>
                <a:gd name="connsiteY2" fmla="*/ 430212 h 1554162"/>
                <a:gd name="connsiteX3" fmla="*/ 1387475 w 1963738"/>
                <a:gd name="connsiteY3" fmla="*/ 1587 h 1554162"/>
                <a:gd name="connsiteX4" fmla="*/ 406400 w 1963738"/>
                <a:gd name="connsiteY4" fmla="*/ 420687 h 1554162"/>
                <a:gd name="connsiteX5" fmla="*/ 63500 w 1963738"/>
                <a:gd name="connsiteY5" fmla="*/ 1287462 h 1554162"/>
                <a:gd name="connsiteX0" fmla="*/ 41717 w 1963737"/>
                <a:gd name="connsiteY0" fmla="*/ 1287462 h 1689794"/>
                <a:gd name="connsiteX1" fmla="*/ 634920 w 1963737"/>
                <a:gd name="connsiteY1" fmla="*/ 1546919 h 1689794"/>
                <a:gd name="connsiteX2" fmla="*/ 1841942 w 1963737"/>
                <a:gd name="connsiteY2" fmla="*/ 430212 h 1689794"/>
                <a:gd name="connsiteX3" fmla="*/ 1365692 w 1963737"/>
                <a:gd name="connsiteY3" fmla="*/ 1587 h 1689794"/>
                <a:gd name="connsiteX4" fmla="*/ 384617 w 1963737"/>
                <a:gd name="connsiteY4" fmla="*/ 420687 h 1689794"/>
                <a:gd name="connsiteX5" fmla="*/ 41717 w 1963737"/>
                <a:gd name="connsiteY5" fmla="*/ 1287462 h 1689794"/>
                <a:gd name="connsiteX0" fmla="*/ 41717 w 1860992"/>
                <a:gd name="connsiteY0" fmla="*/ 1287462 h 1689794"/>
                <a:gd name="connsiteX1" fmla="*/ 634920 w 1860992"/>
                <a:gd name="connsiteY1" fmla="*/ 1546919 h 1689794"/>
                <a:gd name="connsiteX2" fmla="*/ 1479991 w 1860992"/>
                <a:gd name="connsiteY2" fmla="*/ 896937 h 1689794"/>
                <a:gd name="connsiteX3" fmla="*/ 1841942 w 1860992"/>
                <a:gd name="connsiteY3" fmla="*/ 430212 h 1689794"/>
                <a:gd name="connsiteX4" fmla="*/ 1365692 w 1860992"/>
                <a:gd name="connsiteY4" fmla="*/ 1587 h 1689794"/>
                <a:gd name="connsiteX5" fmla="*/ 384617 w 1860992"/>
                <a:gd name="connsiteY5" fmla="*/ 420687 h 1689794"/>
                <a:gd name="connsiteX6" fmla="*/ 41717 w 1860992"/>
                <a:gd name="connsiteY6" fmla="*/ 1287462 h 1689794"/>
                <a:gd name="connsiteX0" fmla="*/ 41717 w 1843724"/>
                <a:gd name="connsiteY0" fmla="*/ 1287462 h 1689794"/>
                <a:gd name="connsiteX1" fmla="*/ 634920 w 1843724"/>
                <a:gd name="connsiteY1" fmla="*/ 1546919 h 1689794"/>
                <a:gd name="connsiteX2" fmla="*/ 1355000 w 1843724"/>
                <a:gd name="connsiteY2" fmla="*/ 466799 h 1689794"/>
                <a:gd name="connsiteX3" fmla="*/ 1841942 w 1843724"/>
                <a:gd name="connsiteY3" fmla="*/ 430212 h 1689794"/>
                <a:gd name="connsiteX4" fmla="*/ 1365692 w 1843724"/>
                <a:gd name="connsiteY4" fmla="*/ 1587 h 1689794"/>
                <a:gd name="connsiteX5" fmla="*/ 384617 w 1843724"/>
                <a:gd name="connsiteY5" fmla="*/ 420687 h 1689794"/>
                <a:gd name="connsiteX6" fmla="*/ 41717 w 1843724"/>
                <a:gd name="connsiteY6" fmla="*/ 1287462 h 1689794"/>
                <a:gd name="connsiteX0" fmla="*/ 41717 w 1843724"/>
                <a:gd name="connsiteY0" fmla="*/ 1287462 h 1689794"/>
                <a:gd name="connsiteX1" fmla="*/ 634920 w 1843724"/>
                <a:gd name="connsiteY1" fmla="*/ 1546919 h 1689794"/>
                <a:gd name="connsiteX2" fmla="*/ 1355000 w 1843724"/>
                <a:gd name="connsiteY2" fmla="*/ 466799 h 1689794"/>
                <a:gd name="connsiteX3" fmla="*/ 1841942 w 1843724"/>
                <a:gd name="connsiteY3" fmla="*/ 430212 h 1689794"/>
                <a:gd name="connsiteX4" fmla="*/ 1365692 w 1843724"/>
                <a:gd name="connsiteY4" fmla="*/ 1587 h 1689794"/>
                <a:gd name="connsiteX5" fmla="*/ 384617 w 1843724"/>
                <a:gd name="connsiteY5" fmla="*/ 420687 h 1689794"/>
                <a:gd name="connsiteX6" fmla="*/ 41717 w 1843724"/>
                <a:gd name="connsiteY6" fmla="*/ 1287462 h 1689794"/>
                <a:gd name="connsiteX0" fmla="*/ 41717 w 1855725"/>
                <a:gd name="connsiteY0" fmla="*/ 1287462 h 1689794"/>
                <a:gd name="connsiteX1" fmla="*/ 634920 w 1855725"/>
                <a:gd name="connsiteY1" fmla="*/ 1546919 h 1689794"/>
                <a:gd name="connsiteX2" fmla="*/ 1282992 w 1855725"/>
                <a:gd name="connsiteY2" fmla="*/ 322783 h 1689794"/>
                <a:gd name="connsiteX3" fmla="*/ 1841942 w 1855725"/>
                <a:gd name="connsiteY3" fmla="*/ 430212 h 1689794"/>
                <a:gd name="connsiteX4" fmla="*/ 1365692 w 1855725"/>
                <a:gd name="connsiteY4" fmla="*/ 1587 h 1689794"/>
                <a:gd name="connsiteX5" fmla="*/ 384617 w 1855725"/>
                <a:gd name="connsiteY5" fmla="*/ 420687 h 1689794"/>
                <a:gd name="connsiteX6" fmla="*/ 41717 w 1855725"/>
                <a:gd name="connsiteY6" fmla="*/ 1287462 h 1689794"/>
                <a:gd name="connsiteX0" fmla="*/ 41717 w 1876164"/>
                <a:gd name="connsiteY0" fmla="*/ 1287462 h 1689794"/>
                <a:gd name="connsiteX1" fmla="*/ 634920 w 1876164"/>
                <a:gd name="connsiteY1" fmla="*/ 1546919 h 1689794"/>
                <a:gd name="connsiteX2" fmla="*/ 1571024 w 1876164"/>
                <a:gd name="connsiteY2" fmla="*/ 538807 h 1689794"/>
                <a:gd name="connsiteX3" fmla="*/ 1841942 w 1876164"/>
                <a:gd name="connsiteY3" fmla="*/ 430212 h 1689794"/>
                <a:gd name="connsiteX4" fmla="*/ 1365692 w 1876164"/>
                <a:gd name="connsiteY4" fmla="*/ 1587 h 1689794"/>
                <a:gd name="connsiteX5" fmla="*/ 384617 w 1876164"/>
                <a:gd name="connsiteY5" fmla="*/ 420687 h 1689794"/>
                <a:gd name="connsiteX6" fmla="*/ 41717 w 1876164"/>
                <a:gd name="connsiteY6" fmla="*/ 1287462 h 1689794"/>
                <a:gd name="connsiteX0" fmla="*/ 53718 w 1888165"/>
                <a:gd name="connsiteY0" fmla="*/ 1287462 h 1761802"/>
                <a:gd name="connsiteX1" fmla="*/ 718928 w 1888165"/>
                <a:gd name="connsiteY1" fmla="*/ 1618927 h 1761802"/>
                <a:gd name="connsiteX2" fmla="*/ 1583025 w 1888165"/>
                <a:gd name="connsiteY2" fmla="*/ 538807 h 1761802"/>
                <a:gd name="connsiteX3" fmla="*/ 1853943 w 1888165"/>
                <a:gd name="connsiteY3" fmla="*/ 430212 h 1761802"/>
                <a:gd name="connsiteX4" fmla="*/ 1377693 w 1888165"/>
                <a:gd name="connsiteY4" fmla="*/ 1587 h 1761802"/>
                <a:gd name="connsiteX5" fmla="*/ 396618 w 1888165"/>
                <a:gd name="connsiteY5" fmla="*/ 420687 h 1761802"/>
                <a:gd name="connsiteX6" fmla="*/ 53718 w 1888165"/>
                <a:gd name="connsiteY6" fmla="*/ 1287462 h 1761802"/>
                <a:gd name="connsiteX0" fmla="*/ 53718 w 1888165"/>
                <a:gd name="connsiteY0" fmla="*/ 1287462 h 1761802"/>
                <a:gd name="connsiteX1" fmla="*/ 718928 w 1888165"/>
                <a:gd name="connsiteY1" fmla="*/ 1618927 h 1761802"/>
                <a:gd name="connsiteX2" fmla="*/ 1583025 w 1888165"/>
                <a:gd name="connsiteY2" fmla="*/ 538807 h 1761802"/>
                <a:gd name="connsiteX3" fmla="*/ 1853943 w 1888165"/>
                <a:gd name="connsiteY3" fmla="*/ 430212 h 1761802"/>
                <a:gd name="connsiteX4" fmla="*/ 1377693 w 1888165"/>
                <a:gd name="connsiteY4" fmla="*/ 1587 h 1761802"/>
                <a:gd name="connsiteX5" fmla="*/ 396618 w 1888165"/>
                <a:gd name="connsiteY5" fmla="*/ 420687 h 1761802"/>
                <a:gd name="connsiteX6" fmla="*/ 53718 w 1888165"/>
                <a:gd name="connsiteY6" fmla="*/ 1287462 h 1761802"/>
                <a:gd name="connsiteX0" fmla="*/ 53718 w 1888165"/>
                <a:gd name="connsiteY0" fmla="*/ 1287462 h 1706006"/>
                <a:gd name="connsiteX1" fmla="*/ 718928 w 1888165"/>
                <a:gd name="connsiteY1" fmla="*/ 1618927 h 1706006"/>
                <a:gd name="connsiteX2" fmla="*/ 1583025 w 1888165"/>
                <a:gd name="connsiteY2" fmla="*/ 538807 h 1706006"/>
                <a:gd name="connsiteX3" fmla="*/ 1853943 w 1888165"/>
                <a:gd name="connsiteY3" fmla="*/ 430212 h 1706006"/>
                <a:gd name="connsiteX4" fmla="*/ 1377693 w 1888165"/>
                <a:gd name="connsiteY4" fmla="*/ 1587 h 1706006"/>
                <a:gd name="connsiteX5" fmla="*/ 396618 w 1888165"/>
                <a:gd name="connsiteY5" fmla="*/ 420687 h 1706006"/>
                <a:gd name="connsiteX6" fmla="*/ 53718 w 1888165"/>
                <a:gd name="connsiteY6" fmla="*/ 1287462 h 1706006"/>
                <a:gd name="connsiteX0" fmla="*/ 53718 w 1888165"/>
                <a:gd name="connsiteY0" fmla="*/ 1287462 h 1618927"/>
                <a:gd name="connsiteX1" fmla="*/ 718928 w 1888165"/>
                <a:gd name="connsiteY1" fmla="*/ 1618927 h 1618927"/>
                <a:gd name="connsiteX2" fmla="*/ 1583025 w 1888165"/>
                <a:gd name="connsiteY2" fmla="*/ 538807 h 1618927"/>
                <a:gd name="connsiteX3" fmla="*/ 1853943 w 1888165"/>
                <a:gd name="connsiteY3" fmla="*/ 430212 h 1618927"/>
                <a:gd name="connsiteX4" fmla="*/ 1377693 w 1888165"/>
                <a:gd name="connsiteY4" fmla="*/ 1587 h 1618927"/>
                <a:gd name="connsiteX5" fmla="*/ 396618 w 1888165"/>
                <a:gd name="connsiteY5" fmla="*/ 420687 h 1618927"/>
                <a:gd name="connsiteX6" fmla="*/ 53718 w 1888165"/>
                <a:gd name="connsiteY6" fmla="*/ 1287462 h 1618927"/>
                <a:gd name="connsiteX0" fmla="*/ 5223 w 1839670"/>
                <a:gd name="connsiteY0" fmla="*/ 1287462 h 1780287"/>
                <a:gd name="connsiteX1" fmla="*/ 379464 w 1839670"/>
                <a:gd name="connsiteY1" fmla="*/ 1506969 h 1780287"/>
                <a:gd name="connsiteX2" fmla="*/ 670433 w 1839670"/>
                <a:gd name="connsiteY2" fmla="*/ 1618927 h 1780287"/>
                <a:gd name="connsiteX3" fmla="*/ 1534530 w 1839670"/>
                <a:gd name="connsiteY3" fmla="*/ 538807 h 1780287"/>
                <a:gd name="connsiteX4" fmla="*/ 1805448 w 1839670"/>
                <a:gd name="connsiteY4" fmla="*/ 430212 h 1780287"/>
                <a:gd name="connsiteX5" fmla="*/ 1329198 w 1839670"/>
                <a:gd name="connsiteY5" fmla="*/ 1587 h 1780287"/>
                <a:gd name="connsiteX6" fmla="*/ 348123 w 1839670"/>
                <a:gd name="connsiteY6" fmla="*/ 420687 h 1780287"/>
                <a:gd name="connsiteX7" fmla="*/ 5223 w 1839670"/>
                <a:gd name="connsiteY7" fmla="*/ 1287462 h 1780287"/>
                <a:gd name="connsiteX0" fmla="*/ 500 w 1834947"/>
                <a:gd name="connsiteY0" fmla="*/ 1287462 h 1780287"/>
                <a:gd name="connsiteX1" fmla="*/ 346402 w 1834947"/>
                <a:gd name="connsiteY1" fmla="*/ 1405350 h 1780287"/>
                <a:gd name="connsiteX2" fmla="*/ 665710 w 1834947"/>
                <a:gd name="connsiteY2" fmla="*/ 1618927 h 1780287"/>
                <a:gd name="connsiteX3" fmla="*/ 1529807 w 1834947"/>
                <a:gd name="connsiteY3" fmla="*/ 538807 h 1780287"/>
                <a:gd name="connsiteX4" fmla="*/ 1800725 w 1834947"/>
                <a:gd name="connsiteY4" fmla="*/ 430212 h 1780287"/>
                <a:gd name="connsiteX5" fmla="*/ 1324475 w 1834947"/>
                <a:gd name="connsiteY5" fmla="*/ 1587 h 1780287"/>
                <a:gd name="connsiteX6" fmla="*/ 343400 w 1834947"/>
                <a:gd name="connsiteY6" fmla="*/ 420687 h 1780287"/>
                <a:gd name="connsiteX7" fmla="*/ 500 w 1834947"/>
                <a:gd name="connsiteY7" fmla="*/ 1287462 h 1780287"/>
                <a:gd name="connsiteX0" fmla="*/ 500 w 1834947"/>
                <a:gd name="connsiteY0" fmla="*/ 1287462 h 1780287"/>
                <a:gd name="connsiteX1" fmla="*/ 346402 w 1834947"/>
                <a:gd name="connsiteY1" fmla="*/ 1405350 h 1780287"/>
                <a:gd name="connsiteX2" fmla="*/ 665710 w 1834947"/>
                <a:gd name="connsiteY2" fmla="*/ 1618927 h 1780287"/>
                <a:gd name="connsiteX3" fmla="*/ 1529807 w 1834947"/>
                <a:gd name="connsiteY3" fmla="*/ 538807 h 1780287"/>
                <a:gd name="connsiteX4" fmla="*/ 1800725 w 1834947"/>
                <a:gd name="connsiteY4" fmla="*/ 430212 h 1780287"/>
                <a:gd name="connsiteX5" fmla="*/ 1324475 w 1834947"/>
                <a:gd name="connsiteY5" fmla="*/ 1587 h 1780287"/>
                <a:gd name="connsiteX6" fmla="*/ 343400 w 1834947"/>
                <a:gd name="connsiteY6" fmla="*/ 420687 h 1780287"/>
                <a:gd name="connsiteX7" fmla="*/ 500 w 1834947"/>
                <a:gd name="connsiteY7" fmla="*/ 1287462 h 1780287"/>
                <a:gd name="connsiteX0" fmla="*/ 500 w 1834947"/>
                <a:gd name="connsiteY0" fmla="*/ 1287462 h 1780287"/>
                <a:gd name="connsiteX1" fmla="*/ 346402 w 1834947"/>
                <a:gd name="connsiteY1" fmla="*/ 1405350 h 1780287"/>
                <a:gd name="connsiteX2" fmla="*/ 665710 w 1834947"/>
                <a:gd name="connsiteY2" fmla="*/ 1618927 h 1780287"/>
                <a:gd name="connsiteX3" fmla="*/ 1529807 w 1834947"/>
                <a:gd name="connsiteY3" fmla="*/ 538807 h 1780287"/>
                <a:gd name="connsiteX4" fmla="*/ 1800725 w 1834947"/>
                <a:gd name="connsiteY4" fmla="*/ 430212 h 1780287"/>
                <a:gd name="connsiteX5" fmla="*/ 1324475 w 1834947"/>
                <a:gd name="connsiteY5" fmla="*/ 1587 h 1780287"/>
                <a:gd name="connsiteX6" fmla="*/ 343400 w 1834947"/>
                <a:gd name="connsiteY6" fmla="*/ 420687 h 1780287"/>
                <a:gd name="connsiteX7" fmla="*/ 500 w 1834947"/>
                <a:gd name="connsiteY7" fmla="*/ 1287462 h 1780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34947" h="1780287">
                  <a:moveTo>
                    <a:pt x="500" y="1287462"/>
                  </a:moveTo>
                  <a:cubicBezTo>
                    <a:pt x="1000" y="1451572"/>
                    <a:pt x="235534" y="1350106"/>
                    <a:pt x="346402" y="1405350"/>
                  </a:cubicBezTo>
                  <a:cubicBezTo>
                    <a:pt x="457270" y="1460594"/>
                    <a:pt x="473199" y="1780287"/>
                    <a:pt x="665710" y="1618927"/>
                  </a:cubicBezTo>
                  <a:cubicBezTo>
                    <a:pt x="905422" y="1553840"/>
                    <a:pt x="1238695" y="627021"/>
                    <a:pt x="1529807" y="538807"/>
                  </a:cubicBezTo>
                  <a:cubicBezTo>
                    <a:pt x="1820919" y="450593"/>
                    <a:pt x="1834947" y="519749"/>
                    <a:pt x="1800725" y="430212"/>
                  </a:cubicBezTo>
                  <a:cubicBezTo>
                    <a:pt x="1766503" y="340675"/>
                    <a:pt x="1567362" y="3174"/>
                    <a:pt x="1324475" y="1587"/>
                  </a:cubicBezTo>
                  <a:cubicBezTo>
                    <a:pt x="1081588" y="0"/>
                    <a:pt x="564063" y="206375"/>
                    <a:pt x="343400" y="420687"/>
                  </a:cubicBezTo>
                  <a:cubicBezTo>
                    <a:pt x="122738" y="635000"/>
                    <a:pt x="0" y="1123352"/>
                    <a:pt x="500" y="1287462"/>
                  </a:cubicBezTo>
                  <a:close/>
                </a:path>
              </a:pathLst>
            </a:custGeom>
            <a:gradFill flip="none" rotWithShape="1">
              <a:gsLst>
                <a:gs pos="74000">
                  <a:schemeClr val="bg1">
                    <a:alpha val="19000"/>
                  </a:schemeClr>
                </a:gs>
                <a:gs pos="50000">
                  <a:schemeClr val="bg1">
                    <a:alpha val="0"/>
                  </a:schemeClr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0" name="TextBox 119"/>
            <p:cNvSpPr txBox="1"/>
            <p:nvPr/>
          </p:nvSpPr>
          <p:spPr>
            <a:xfrm>
              <a:off x="7583622" y="3653921"/>
              <a:ext cx="90010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ko-KR" sz="20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2003</a:t>
              </a:r>
              <a:endParaRPr lang="ko-KR" altLang="en-US" sz="2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9604" y="6245919"/>
            <a:ext cx="1540508" cy="4333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4437" y="1833524"/>
            <a:ext cx="414698" cy="4186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21" name="직선 연결선 88"/>
          <p:cNvCxnSpPr/>
          <p:nvPr/>
        </p:nvCxnSpPr>
        <p:spPr>
          <a:xfrm>
            <a:off x="1894567" y="3140968"/>
            <a:ext cx="0" cy="61197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Box 62"/>
          <p:cNvSpPr txBox="1">
            <a:spLocks noChangeArrowheads="1"/>
          </p:cNvSpPr>
          <p:nvPr/>
        </p:nvSpPr>
        <p:spPr bwMode="auto">
          <a:xfrm>
            <a:off x="1747919" y="2618294"/>
            <a:ext cx="2093497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ko-KR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Haemophilia EPR implemented</a:t>
            </a:r>
            <a:endParaRPr kumimoji="0" lang="en-US" altLang="ko-KR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맑은 고딕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9911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0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00"/>
                            </p:stCondLst>
                            <p:childTnLst>
                              <p:par>
                                <p:cTn id="5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500"/>
                            </p:stCondLst>
                            <p:childTnLst>
                              <p:par>
                                <p:cTn id="6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500"/>
                            </p:stCondLst>
                            <p:childTnLst>
                              <p:par>
                                <p:cTn id="8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/>
      <p:bldP spid="123" grpId="0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674" name="Rectangle 2"/>
          <p:cNvSpPr>
            <a:spLocks noGrp="1" noChangeArrowheads="1"/>
          </p:cNvSpPr>
          <p:nvPr>
            <p:ph type="title"/>
          </p:nvPr>
        </p:nvSpPr>
        <p:spPr>
          <a:xfrm>
            <a:off x="304800" y="228600"/>
            <a:ext cx="7772400" cy="685800"/>
          </a:xfrm>
        </p:spPr>
        <p:txBody>
          <a:bodyPr/>
          <a:lstStyle/>
          <a:p>
            <a:pPr eaLnBrk="1" hangingPunct="1"/>
            <a:r>
              <a:rPr lang="en-GB" sz="4000" b="1" smtClean="0">
                <a:solidFill>
                  <a:srgbClr val="091D67"/>
                </a:solidFill>
                <a:cs typeface="Times New Roman" pitchFamily="18" charset="0"/>
              </a:rPr>
              <a:t>Outcomes/ROI</a:t>
            </a:r>
          </a:p>
        </p:txBody>
      </p:sp>
      <p:sp>
        <p:nvSpPr>
          <p:cNvPr id="2846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9600" y="1143000"/>
            <a:ext cx="7772400" cy="5022850"/>
          </a:xfrm>
        </p:spPr>
        <p:txBody>
          <a:bodyPr/>
          <a:lstStyle/>
          <a:p>
            <a:pPr algn="ctr" eaLnBrk="1" hangingPunct="1">
              <a:lnSpc>
                <a:spcPct val="90000"/>
              </a:lnSpc>
              <a:buFontTx/>
              <a:buNone/>
            </a:pPr>
            <a:r>
              <a:rPr lang="en-GB" sz="2400" b="1" i="1" smtClean="0"/>
              <a:t>Validated Cold Chain delivery Service using GS1 Datamatrix Bar coding on medication packaging</a:t>
            </a:r>
          </a:p>
          <a:p>
            <a:pPr algn="ctr" eaLnBrk="1" hangingPunct="1">
              <a:lnSpc>
                <a:spcPct val="90000"/>
              </a:lnSpc>
              <a:buFontTx/>
              <a:buNone/>
            </a:pPr>
            <a:endParaRPr lang="en-GB" sz="2400" b="1" i="1" smtClean="0">
              <a:cs typeface="Times New Roman" pitchFamily="18" charset="0"/>
            </a:endParaRPr>
          </a:p>
          <a:p>
            <a:pPr eaLnBrk="1" hangingPunct="1">
              <a:lnSpc>
                <a:spcPct val="90000"/>
              </a:lnSpc>
            </a:pPr>
            <a:r>
              <a:rPr lang="en-GB" sz="2400" smtClean="0"/>
              <a:t>Since Cold Chain delivery started all</a:t>
            </a:r>
            <a:r>
              <a:rPr lang="en-GB" sz="2400" smtClean="0">
                <a:cs typeface="Times New Roman" pitchFamily="18" charset="0"/>
              </a:rPr>
              <a:t> products verifiably delivered between 2</a:t>
            </a:r>
            <a:r>
              <a:rPr lang="en-GB" sz="2400" baseline="30000" smtClean="0">
                <a:cs typeface="Times New Roman" pitchFamily="18" charset="0"/>
              </a:rPr>
              <a:t>0</a:t>
            </a:r>
            <a:r>
              <a:rPr lang="en-GB" sz="2400" smtClean="0">
                <a:cs typeface="Times New Roman" pitchFamily="18" charset="0"/>
              </a:rPr>
              <a:t>-5</a:t>
            </a:r>
            <a:r>
              <a:rPr lang="en-GB" sz="2400" baseline="30000" smtClean="0">
                <a:cs typeface="Times New Roman" pitchFamily="18" charset="0"/>
              </a:rPr>
              <a:t>0</a:t>
            </a:r>
            <a:r>
              <a:rPr lang="en-GB" sz="2400" smtClean="0">
                <a:cs typeface="Times New Roman" pitchFamily="18" charset="0"/>
              </a:rPr>
              <a:t> Celsius</a:t>
            </a:r>
            <a:endParaRPr lang="en-GB" sz="2400" smtClean="0"/>
          </a:p>
          <a:p>
            <a:pPr eaLnBrk="1" hangingPunct="1">
              <a:lnSpc>
                <a:spcPct val="90000"/>
              </a:lnSpc>
            </a:pPr>
            <a:r>
              <a:rPr lang="en-GB" sz="2400" smtClean="0"/>
              <a:t>Documentation errors  reduced from </a:t>
            </a:r>
            <a:r>
              <a:rPr lang="en-GB" sz="2400" smtClean="0">
                <a:solidFill>
                  <a:srgbClr val="FF0000"/>
                </a:solidFill>
              </a:rPr>
              <a:t>12</a:t>
            </a:r>
            <a:r>
              <a:rPr lang="en-GB" sz="2400" smtClean="0"/>
              <a:t> to </a:t>
            </a:r>
            <a:r>
              <a:rPr lang="en-GB" sz="2400" smtClean="0">
                <a:solidFill>
                  <a:srgbClr val="00FF00"/>
                </a:solidFill>
              </a:rPr>
              <a:t>zero</a:t>
            </a:r>
            <a:r>
              <a:rPr lang="en-GB" sz="2400" smtClean="0"/>
              <a:t> in the year post service implementation</a:t>
            </a:r>
          </a:p>
          <a:p>
            <a:pPr eaLnBrk="1" hangingPunct="1">
              <a:lnSpc>
                <a:spcPct val="90000"/>
              </a:lnSpc>
            </a:pPr>
            <a:r>
              <a:rPr lang="en-GB" sz="2400" smtClean="0">
                <a:solidFill>
                  <a:srgbClr val="00FF00"/>
                </a:solidFill>
              </a:rPr>
              <a:t>€ 5 Million</a:t>
            </a:r>
            <a:r>
              <a:rPr lang="en-GB" sz="2400" smtClean="0"/>
              <a:t> worth of medication stock has been removed from the supply chain</a:t>
            </a:r>
          </a:p>
          <a:p>
            <a:pPr eaLnBrk="1" hangingPunct="1">
              <a:lnSpc>
                <a:spcPct val="90000"/>
              </a:lnSpc>
            </a:pPr>
            <a:r>
              <a:rPr lang="en-IE" sz="2400" smtClean="0"/>
              <a:t>Stock rotation in 2011 saved €600,000 worth of stock</a:t>
            </a:r>
            <a:endParaRPr lang="en-GB" sz="2400" smtClean="0"/>
          </a:p>
          <a:p>
            <a:pPr eaLnBrk="1" hangingPunct="1">
              <a:lnSpc>
                <a:spcPct val="90000"/>
              </a:lnSpc>
            </a:pPr>
            <a:r>
              <a:rPr lang="en-GB" sz="2400" smtClean="0"/>
              <a:t>Mock Recall identified location of all </a:t>
            </a:r>
            <a:r>
              <a:rPr lang="en-GB" sz="2400" smtClean="0">
                <a:solidFill>
                  <a:srgbClr val="00FF00"/>
                </a:solidFill>
              </a:rPr>
              <a:t>(100%)</a:t>
            </a:r>
            <a:r>
              <a:rPr lang="en-GB" sz="2400" smtClean="0"/>
              <a:t> Medication within </a:t>
            </a:r>
            <a:r>
              <a:rPr lang="en-GB" sz="2400" smtClean="0">
                <a:solidFill>
                  <a:srgbClr val="00FF00"/>
                </a:solidFill>
              </a:rPr>
              <a:t>10 minutes </a:t>
            </a:r>
            <a:r>
              <a:rPr lang="en-GB" sz="2400" smtClean="0"/>
              <a:t>along with quantities of alternate stock available</a:t>
            </a:r>
          </a:p>
          <a:p>
            <a:pPr eaLnBrk="1" hangingPunct="1">
              <a:lnSpc>
                <a:spcPct val="90000"/>
              </a:lnSpc>
            </a:pPr>
            <a:endParaRPr lang="en-GB" sz="2400" smtClean="0">
              <a:solidFill>
                <a:srgbClr val="00FF00"/>
              </a:solidFill>
            </a:endParaRPr>
          </a:p>
          <a:p>
            <a:pPr eaLnBrk="1" hangingPunct="1">
              <a:lnSpc>
                <a:spcPct val="90000"/>
              </a:lnSpc>
            </a:pPr>
            <a:endParaRPr lang="en-GB" sz="2400" smtClean="0"/>
          </a:p>
        </p:txBody>
      </p:sp>
    </p:spTree>
    <p:extLst>
      <p:ext uri="{BB962C8B-B14F-4D97-AF65-F5344CB8AC3E}">
        <p14:creationId xmlns:p14="http://schemas.microsoft.com/office/powerpoint/2010/main" val="3688574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6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846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846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6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846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846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6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846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846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67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8467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8467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67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8467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8467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67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8467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8467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 nodeType="clickPar">
                      <p:stCondLst>
                        <p:cond delay="indefinite"/>
                      </p:stCondLst>
                      <p:childTnLst>
                        <p:par>
                          <p:cTn id="4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67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8467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8467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4674" grpId="0" autoUpdateAnimBg="0"/>
      <p:bldP spid="284675" grpId="0" build="p" autoUpdateAnimBg="0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5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IE" sz="4000" b="1" dirty="0">
                <a:solidFill>
                  <a:schemeClr val="accent4"/>
                </a:solidFill>
              </a:rPr>
              <a:t>Patient usage trends</a:t>
            </a:r>
            <a:endParaRPr lang="en-GB" sz="4000" b="1" dirty="0">
              <a:solidFill>
                <a:schemeClr val="accent4"/>
              </a:solidFill>
            </a:endParaRPr>
          </a:p>
        </p:txBody>
      </p:sp>
      <p:sp>
        <p:nvSpPr>
          <p:cNvPr id="19353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93540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75" y="2395538"/>
            <a:ext cx="4122738" cy="3849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3541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9138" y="2395538"/>
            <a:ext cx="4157662" cy="3849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58666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1042988" y="333375"/>
            <a:ext cx="7334250" cy="936625"/>
          </a:xfrm>
        </p:spPr>
        <p:txBody>
          <a:bodyPr/>
          <a:lstStyle/>
          <a:p>
            <a:pPr eaLnBrk="1" hangingPunct="1"/>
            <a:r>
              <a:rPr lang="en-IE" sz="2800" b="1" dirty="0" smtClean="0">
                <a:solidFill>
                  <a:srgbClr val="091D67"/>
                </a:solidFill>
              </a:rPr>
              <a:t>Immediate outcomes post implementation of smartphone App </a:t>
            </a:r>
            <a:br>
              <a:rPr lang="en-IE" sz="2800" b="1" dirty="0" smtClean="0">
                <a:solidFill>
                  <a:srgbClr val="091D67"/>
                </a:solidFill>
              </a:rPr>
            </a:br>
            <a:r>
              <a:rPr lang="en-IE" sz="1400" b="1" dirty="0" smtClean="0">
                <a:solidFill>
                  <a:srgbClr val="091D67"/>
                </a:solidFill>
              </a:rPr>
              <a:t>(launched June 2010)</a:t>
            </a:r>
            <a:endParaRPr lang="en-GB" sz="1400" b="1" dirty="0" smtClean="0">
              <a:solidFill>
                <a:srgbClr val="091D67"/>
              </a:solidFill>
            </a:endParaRPr>
          </a:p>
        </p:txBody>
      </p:sp>
      <p:sp>
        <p:nvSpPr>
          <p:cNvPr id="593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IE" sz="2400" dirty="0" smtClean="0"/>
              <a:t>Real-time recall alert</a:t>
            </a:r>
          </a:p>
          <a:p>
            <a:pPr eaLnBrk="1" hangingPunct="1">
              <a:lnSpc>
                <a:spcPct val="90000"/>
              </a:lnSpc>
            </a:pPr>
            <a:r>
              <a:rPr lang="en-IE" sz="2400" dirty="0" smtClean="0"/>
              <a:t>Timeliness  of infusion </a:t>
            </a:r>
          </a:p>
          <a:p>
            <a:pPr eaLnBrk="1" hangingPunct="1">
              <a:lnSpc>
                <a:spcPct val="90000"/>
              </a:lnSpc>
            </a:pPr>
            <a:r>
              <a:rPr lang="en-IE" sz="2400" dirty="0" smtClean="0"/>
              <a:t>Prescription compliance (2000iu instead of recommended 1750iu)</a:t>
            </a:r>
          </a:p>
          <a:p>
            <a:pPr eaLnBrk="1" hangingPunct="1">
              <a:lnSpc>
                <a:spcPct val="90000"/>
              </a:lnSpc>
            </a:pPr>
            <a:r>
              <a:rPr lang="en-IE" sz="2400" dirty="0" smtClean="0"/>
              <a:t>Automatic compliance (no manual record keeping)</a:t>
            </a:r>
          </a:p>
          <a:p>
            <a:pPr eaLnBrk="1" hangingPunct="1">
              <a:lnSpc>
                <a:spcPct val="90000"/>
              </a:lnSpc>
            </a:pPr>
            <a:r>
              <a:rPr lang="en-IE" sz="2400" dirty="0" smtClean="0"/>
              <a:t>Compliance  &gt; 90% (for those with phone App)</a:t>
            </a:r>
          </a:p>
          <a:p>
            <a:pPr eaLnBrk="1" hangingPunct="1">
              <a:lnSpc>
                <a:spcPct val="90000"/>
              </a:lnSpc>
            </a:pPr>
            <a:r>
              <a:rPr lang="en-IE" sz="2400" dirty="0" smtClean="0"/>
              <a:t>Real-time Alerts for specific bleeds</a:t>
            </a:r>
          </a:p>
          <a:p>
            <a:pPr eaLnBrk="1" hangingPunct="1">
              <a:lnSpc>
                <a:spcPct val="90000"/>
              </a:lnSpc>
            </a:pPr>
            <a:r>
              <a:rPr lang="en-IE" sz="2400" dirty="0" smtClean="0"/>
              <a:t>Patient empowerment</a:t>
            </a:r>
          </a:p>
          <a:p>
            <a:pPr eaLnBrk="1" hangingPunct="1">
              <a:lnSpc>
                <a:spcPct val="90000"/>
              </a:lnSpc>
            </a:pPr>
            <a:r>
              <a:rPr lang="en-IE" sz="2400" dirty="0" smtClean="0"/>
              <a:t>Significant savings (over €70,000 within first 3 months with only 20 users)</a:t>
            </a:r>
            <a:endParaRPr lang="en-GB" sz="2400" dirty="0" smtClean="0"/>
          </a:p>
        </p:txBody>
      </p:sp>
    </p:spTree>
    <p:extLst>
      <p:ext uri="{BB962C8B-B14F-4D97-AF65-F5344CB8AC3E}">
        <p14:creationId xmlns:p14="http://schemas.microsoft.com/office/powerpoint/2010/main" val="3925402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900113" y="404813"/>
            <a:ext cx="6877050" cy="936625"/>
          </a:xfrm>
        </p:spPr>
        <p:txBody>
          <a:bodyPr/>
          <a:lstStyle/>
          <a:p>
            <a:pPr eaLnBrk="1" hangingPunct="1"/>
            <a:r>
              <a:rPr lang="en-IE" sz="6200" b="1" dirty="0" smtClean="0">
                <a:solidFill>
                  <a:srgbClr val="091D67"/>
                </a:solidFill>
              </a:rPr>
              <a:t>Where we are</a:t>
            </a:r>
            <a:endParaRPr lang="en-GB" sz="6200" b="1" dirty="0" smtClean="0">
              <a:solidFill>
                <a:srgbClr val="091D67"/>
              </a:solidFill>
            </a:endParaRPr>
          </a:p>
        </p:txBody>
      </p:sp>
      <p:pic>
        <p:nvPicPr>
          <p:cNvPr id="285699" name="Picture 3" descr="j0285360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781300"/>
            <a:ext cx="1227138" cy="151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5700" name="Picture 4" descr="MPj04387060000[1]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11638" y="2781300"/>
            <a:ext cx="1071562" cy="136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5701" name="Picture 5" descr="j018560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56325" y="2852738"/>
            <a:ext cx="1222375" cy="1225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5702" name="Picture 6" descr="MCj04042030000[1]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67663" y="2781300"/>
            <a:ext cx="1176337" cy="136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5703" name="Picture 7" descr="MC900237110[1]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63713" y="2852738"/>
            <a:ext cx="1395412" cy="123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5704" name="AutoShape 8"/>
          <p:cNvSpPr>
            <a:spLocks noChangeArrowheads="1"/>
          </p:cNvSpPr>
          <p:nvPr/>
        </p:nvSpPr>
        <p:spPr bwMode="auto">
          <a:xfrm>
            <a:off x="7019925" y="2205038"/>
            <a:ext cx="1439863" cy="503237"/>
          </a:xfrm>
          <a:prstGeom prst="curvedDownArrow">
            <a:avLst>
              <a:gd name="adj1" fmla="val 57224"/>
              <a:gd name="adj2" fmla="val 114448"/>
              <a:gd name="adj3" fmla="val 33333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E" dirty="0"/>
          </a:p>
        </p:txBody>
      </p:sp>
      <p:sp>
        <p:nvSpPr>
          <p:cNvPr id="285705" name="AutoShape 9"/>
          <p:cNvSpPr>
            <a:spLocks noChangeArrowheads="1"/>
          </p:cNvSpPr>
          <p:nvPr/>
        </p:nvSpPr>
        <p:spPr bwMode="auto">
          <a:xfrm>
            <a:off x="2484438" y="2133600"/>
            <a:ext cx="2519362" cy="574675"/>
          </a:xfrm>
          <a:prstGeom prst="curvedDownArrow">
            <a:avLst>
              <a:gd name="adj1" fmla="val 87680"/>
              <a:gd name="adj2" fmla="val 175359"/>
              <a:gd name="adj3" fmla="val 33333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E" dirty="0"/>
          </a:p>
        </p:txBody>
      </p:sp>
      <p:sp>
        <p:nvSpPr>
          <p:cNvPr id="285706" name="AutoShape 10"/>
          <p:cNvSpPr>
            <a:spLocks noChangeArrowheads="1"/>
          </p:cNvSpPr>
          <p:nvPr/>
        </p:nvSpPr>
        <p:spPr bwMode="auto">
          <a:xfrm>
            <a:off x="2124075" y="1844675"/>
            <a:ext cx="5400675" cy="863600"/>
          </a:xfrm>
          <a:prstGeom prst="curvedDownArrow">
            <a:avLst>
              <a:gd name="adj1" fmla="val 125074"/>
              <a:gd name="adj2" fmla="val 250147"/>
              <a:gd name="adj3" fmla="val 33394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E" dirty="0"/>
          </a:p>
        </p:txBody>
      </p:sp>
      <p:sp>
        <p:nvSpPr>
          <p:cNvPr id="285707" name="AutoShape 11"/>
          <p:cNvSpPr>
            <a:spLocks noChangeArrowheads="1"/>
          </p:cNvSpPr>
          <p:nvPr/>
        </p:nvSpPr>
        <p:spPr bwMode="auto">
          <a:xfrm>
            <a:off x="506413" y="2205038"/>
            <a:ext cx="2224087" cy="576262"/>
          </a:xfrm>
          <a:prstGeom prst="curvedDownArrow">
            <a:avLst>
              <a:gd name="adj1" fmla="val 77190"/>
              <a:gd name="adj2" fmla="val 154380"/>
              <a:gd name="adj3" fmla="val 33333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IE" dirty="0"/>
          </a:p>
        </p:txBody>
      </p:sp>
      <p:pic>
        <p:nvPicPr>
          <p:cNvPr id="285708" name="Picture 12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0988" y="4537075"/>
            <a:ext cx="4508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5709" name="Picture 13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4563" y="4537075"/>
            <a:ext cx="4508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5710" name="Picture 14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37063" y="4537075"/>
            <a:ext cx="4508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5711" name="Picture 15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69075" y="4537075"/>
            <a:ext cx="4508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5712" name="Picture 16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35950" y="4537075"/>
            <a:ext cx="4508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5713" name="Picture 17" descr="j0285360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388" y="2960688"/>
            <a:ext cx="1227137" cy="1512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5714" name="Picture 18" descr="j0285360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8775" y="3140075"/>
            <a:ext cx="1227138" cy="151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5715" name="Picture 19" descr="j0285360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8163" y="3319463"/>
            <a:ext cx="1227137" cy="1512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5716" name="Picture 20" descr="j0285360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550" y="3498850"/>
            <a:ext cx="1227138" cy="151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5717" name="Picture 21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06525" y="3900488"/>
            <a:ext cx="717550" cy="636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85905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6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856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856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0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7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2857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14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7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2857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2857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19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7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1000" fill="hold"/>
                                        <p:tgtEl>
                                          <p:spTgt spid="2857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1000" fill="hold"/>
                                        <p:tgtEl>
                                          <p:spTgt spid="2857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24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7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" dur="1000"/>
                                        <p:tgtEl>
                                          <p:spTgt spid="2857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7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1000" fill="hold"/>
                                        <p:tgtEl>
                                          <p:spTgt spid="2857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1000" fill="hold"/>
                                        <p:tgtEl>
                                          <p:spTgt spid="2857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 nodeType="afterGroup">
                            <p:stCondLst>
                              <p:cond delay="4500"/>
                            </p:stCondLst>
                            <p:childTnLst>
                              <p:par>
                                <p:cTn id="32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7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1000" fill="hold"/>
                                        <p:tgtEl>
                                          <p:spTgt spid="2857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1000" fill="hold"/>
                                        <p:tgtEl>
                                          <p:spTgt spid="2857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 nodeType="afterGroup">
                            <p:stCondLst>
                              <p:cond delay="5500"/>
                            </p:stCondLst>
                            <p:childTnLst>
                              <p:par>
                                <p:cTn id="37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7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9" dur="1000"/>
                                        <p:tgtEl>
                                          <p:spTgt spid="2857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 nodeType="afterGroup">
                            <p:stCondLst>
                              <p:cond delay="6500"/>
                            </p:stCondLst>
                            <p:childTnLst>
                              <p:par>
                                <p:cTn id="41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7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1000" fill="hold"/>
                                        <p:tgtEl>
                                          <p:spTgt spid="2857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1000" fill="hold"/>
                                        <p:tgtEl>
                                          <p:spTgt spid="2857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 nodeType="afterGroup">
                            <p:stCondLst>
                              <p:cond delay="7500"/>
                            </p:stCondLst>
                            <p:childTnLst>
                              <p:par>
                                <p:cTn id="46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7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1000" fill="hold"/>
                                        <p:tgtEl>
                                          <p:spTgt spid="2857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1000" fill="hold"/>
                                        <p:tgtEl>
                                          <p:spTgt spid="2857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 nodeType="afterGroup">
                            <p:stCondLst>
                              <p:cond delay="8500"/>
                            </p:stCondLst>
                            <p:childTnLst>
                              <p:par>
                                <p:cTn id="51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7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3" dur="1000"/>
                                        <p:tgtEl>
                                          <p:spTgt spid="2857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7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1000" fill="hold"/>
                                        <p:tgtEl>
                                          <p:spTgt spid="2857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1000" fill="hold"/>
                                        <p:tgtEl>
                                          <p:spTgt spid="2857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 nodeType="afterGroup">
                            <p:stCondLst>
                              <p:cond delay="9500"/>
                            </p:stCondLst>
                            <p:childTnLst>
                              <p:par>
                                <p:cTn id="59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7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1000" fill="hold"/>
                                        <p:tgtEl>
                                          <p:spTgt spid="2857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1000" fill="hold"/>
                                        <p:tgtEl>
                                          <p:spTgt spid="2857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7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1000" fill="hold"/>
                                        <p:tgtEl>
                                          <p:spTgt spid="2857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1000" fill="hold"/>
                                        <p:tgtEl>
                                          <p:spTgt spid="2857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 nodeType="clickPar">
                      <p:stCondLst>
                        <p:cond delay="indefinite"/>
                      </p:stCondLst>
                      <p:childTnLst>
                        <p:par>
                          <p:cTn id="6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7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1000" fill="hold"/>
                                        <p:tgtEl>
                                          <p:spTgt spid="2857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1000" fill="hold"/>
                                        <p:tgtEl>
                                          <p:spTgt spid="2857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7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1000" fill="hold"/>
                                        <p:tgtEl>
                                          <p:spTgt spid="2857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1000" fill="hold"/>
                                        <p:tgtEl>
                                          <p:spTgt spid="2857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7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1000" fill="hold"/>
                                        <p:tgtEl>
                                          <p:spTgt spid="2857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1000" fill="hold"/>
                                        <p:tgtEl>
                                          <p:spTgt spid="2857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7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1000" fill="hold"/>
                                        <p:tgtEl>
                                          <p:spTgt spid="2857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1000" fill="hold"/>
                                        <p:tgtEl>
                                          <p:spTgt spid="2857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86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7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8" dur="500"/>
                                        <p:tgtEl>
                                          <p:spTgt spid="2857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5704" grpId="0" animBg="1"/>
      <p:bldP spid="285705" grpId="0" animBg="1"/>
      <p:bldP spid="285706" grpId="0" animBg="1"/>
      <p:bldP spid="285707" grpId="0" animBg="1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/>
          <p:cNvSpPr txBox="1"/>
          <p:nvPr/>
        </p:nvSpPr>
        <p:spPr>
          <a:xfrm>
            <a:off x="732643" y="179929"/>
            <a:ext cx="777686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b="1" dirty="0">
                <a:solidFill>
                  <a:srgbClr val="002060"/>
                </a:solidFill>
              </a:rPr>
              <a:t>What are the Regulators saying?</a:t>
            </a:r>
          </a:p>
        </p:txBody>
      </p:sp>
      <p:pic>
        <p:nvPicPr>
          <p:cNvPr id="4098" name="Picture 2" descr="C:\Users\sduggan.EANDOM\AppData\Local\Microsoft\Windows\Temporary Internet Files\Content.Outlook\4TUHTYAD\IMAG1519 (2)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3527" y="1124744"/>
            <a:ext cx="4002417" cy="2282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angle 18"/>
          <p:cNvSpPr/>
          <p:nvPr/>
        </p:nvSpPr>
        <p:spPr>
          <a:xfrm>
            <a:off x="4621075" y="1196752"/>
            <a:ext cx="4497649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B5DD"/>
              </a:buClr>
            </a:pPr>
            <a:r>
              <a:rPr lang="en-US" sz="2400" b="1" dirty="0" smtClean="0">
                <a:solidFill>
                  <a:srgbClr val="002D6C"/>
                </a:solidFill>
              </a:rPr>
              <a:t>EU Falsified </a:t>
            </a:r>
            <a:r>
              <a:rPr lang="en-US" sz="2400" b="1" dirty="0">
                <a:solidFill>
                  <a:srgbClr val="002D6C"/>
                </a:solidFill>
              </a:rPr>
              <a:t>Medicines Directive (FMD)</a:t>
            </a:r>
          </a:p>
          <a:p>
            <a:pPr marL="342900" indent="-342900">
              <a:buClr>
                <a:srgbClr val="00B5DD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2D6C"/>
                </a:solidFill>
              </a:rPr>
              <a:t>Product Code</a:t>
            </a:r>
          </a:p>
          <a:p>
            <a:pPr marL="342900" indent="-342900">
              <a:buClr>
                <a:srgbClr val="00B5DD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2D6C"/>
                </a:solidFill>
              </a:rPr>
              <a:t>Batch </a:t>
            </a:r>
          </a:p>
          <a:p>
            <a:pPr marL="342900" indent="-342900">
              <a:buClr>
                <a:srgbClr val="00B5DD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2D6C"/>
                </a:solidFill>
              </a:rPr>
              <a:t>Expiry</a:t>
            </a:r>
          </a:p>
          <a:p>
            <a:pPr marL="342900" indent="-342900">
              <a:buClr>
                <a:srgbClr val="00B5DD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2D6C"/>
                </a:solidFill>
              </a:rPr>
              <a:t>Serial Number</a:t>
            </a:r>
          </a:p>
        </p:txBody>
      </p:sp>
      <p:sp>
        <p:nvSpPr>
          <p:cNvPr id="20" name="Rectangle 19"/>
          <p:cNvSpPr/>
          <p:nvPr/>
        </p:nvSpPr>
        <p:spPr>
          <a:xfrm>
            <a:off x="506399" y="3579400"/>
            <a:ext cx="4114676" cy="2369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B5DD"/>
              </a:buClr>
            </a:pPr>
            <a:r>
              <a:rPr lang="en-US" sz="2400" b="1" dirty="0" smtClean="0">
                <a:solidFill>
                  <a:srgbClr val="002D6C"/>
                </a:solidFill>
              </a:rPr>
              <a:t>US Drug Quality and Security Act (DQSA) 2013</a:t>
            </a:r>
            <a:endParaRPr lang="en-US" sz="2400" b="1" dirty="0">
              <a:solidFill>
                <a:srgbClr val="002D6C"/>
              </a:solidFill>
            </a:endParaRPr>
          </a:p>
          <a:p>
            <a:pPr marL="342900" indent="-342900">
              <a:buClr>
                <a:srgbClr val="00B5DD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2D6C"/>
                </a:solidFill>
              </a:rPr>
              <a:t>W</a:t>
            </a:r>
            <a:r>
              <a:rPr lang="en-US" sz="2000" dirty="0" smtClean="0">
                <a:solidFill>
                  <a:srgbClr val="002D6C"/>
                </a:solidFill>
              </a:rPr>
              <a:t>ithin 4 years a Unique Serial Number on all packages</a:t>
            </a:r>
          </a:p>
          <a:p>
            <a:pPr marL="342900" indent="-342900">
              <a:buClr>
                <a:srgbClr val="00B5DD"/>
              </a:buClr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rgbClr val="002D6C"/>
                </a:solidFill>
              </a:rPr>
              <a:t>Within 10 years this must be upgrades to an electronic code</a:t>
            </a:r>
          </a:p>
          <a:p>
            <a:pPr marL="342900" indent="-342900">
              <a:buClr>
                <a:srgbClr val="00B5DD"/>
              </a:buClr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002D6C"/>
              </a:solidFill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1403648" y="3579400"/>
            <a:ext cx="6336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3"/>
          <p:cNvSpPr txBox="1">
            <a:spLocks/>
          </p:cNvSpPr>
          <p:nvPr/>
        </p:nvSpPr>
        <p:spPr>
          <a:xfrm>
            <a:off x="8388425" y="6597352"/>
            <a:ext cx="406326" cy="1778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0" latinLnBrk="0" hangingPunct="0">
              <a:defRPr sz="1200" kern="1200">
                <a:solidFill>
                  <a:srgbClr val="002C6C"/>
                </a:solidFill>
                <a:latin typeface="Arial" pitchFamily="34" charset="0"/>
                <a:ea typeface="ヒラギノ角ゴ ProN W3" pitchFamily="-84" charset="-128"/>
                <a:cs typeface="+mn-cs"/>
                <a:sym typeface="Arial" pitchFamily="34" charset="0"/>
              </a:defRPr>
            </a:lvl1pPr>
            <a:lvl2pPr marL="742950" indent="-285750" algn="l" defTabSz="914400" rtl="0" eaLnBrk="0" latinLnBrk="0" hangingPunct="0">
              <a:defRPr sz="1200" kern="1200">
                <a:solidFill>
                  <a:srgbClr val="002C6C"/>
                </a:solidFill>
                <a:latin typeface="Arial" pitchFamily="34" charset="0"/>
                <a:ea typeface="ヒラギノ角ゴ ProN W3" pitchFamily="-84" charset="-128"/>
                <a:cs typeface="+mn-cs"/>
                <a:sym typeface="Arial" pitchFamily="34" charset="0"/>
              </a:defRPr>
            </a:lvl2pPr>
            <a:lvl3pPr marL="1143000" indent="-228600" algn="l" defTabSz="914400" rtl="0" eaLnBrk="0" latinLnBrk="0" hangingPunct="0">
              <a:defRPr sz="1200" kern="1200">
                <a:solidFill>
                  <a:srgbClr val="002C6C"/>
                </a:solidFill>
                <a:latin typeface="Arial" pitchFamily="34" charset="0"/>
                <a:ea typeface="ヒラギノ角ゴ ProN W3" pitchFamily="-84" charset="-128"/>
                <a:cs typeface="+mn-cs"/>
                <a:sym typeface="Arial" pitchFamily="34" charset="0"/>
              </a:defRPr>
            </a:lvl3pPr>
            <a:lvl4pPr marL="1600200" indent="-228600" algn="l" defTabSz="914400" rtl="0" eaLnBrk="0" latinLnBrk="0" hangingPunct="0">
              <a:defRPr sz="1200" kern="1200">
                <a:solidFill>
                  <a:srgbClr val="002C6C"/>
                </a:solidFill>
                <a:latin typeface="Arial" pitchFamily="34" charset="0"/>
                <a:ea typeface="ヒラギノ角ゴ ProN W3" pitchFamily="-84" charset="-128"/>
                <a:cs typeface="+mn-cs"/>
                <a:sym typeface="Arial" pitchFamily="34" charset="0"/>
              </a:defRPr>
            </a:lvl4pPr>
            <a:lvl5pPr marL="2057400" indent="-228600" algn="l" defTabSz="914400" rtl="0" eaLnBrk="0" latinLnBrk="0" hangingPunct="0">
              <a:defRPr sz="1200" kern="1200">
                <a:solidFill>
                  <a:srgbClr val="002C6C"/>
                </a:solidFill>
                <a:latin typeface="Arial" pitchFamily="34" charset="0"/>
                <a:ea typeface="ヒラギノ角ゴ ProN W3" pitchFamily="-84" charset="-128"/>
                <a:cs typeface="+mn-cs"/>
                <a:sym typeface="Arial" pitchFamily="34" charset="0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2C6C"/>
                </a:solidFill>
                <a:latin typeface="Arial" pitchFamily="34" charset="0"/>
                <a:ea typeface="ヒラギノ角ゴ ProN W3" pitchFamily="-84" charset="-128"/>
                <a:cs typeface="+mn-cs"/>
                <a:sym typeface="Arial" pitchFamily="34" charset="0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2C6C"/>
                </a:solidFill>
                <a:latin typeface="Arial" pitchFamily="34" charset="0"/>
                <a:ea typeface="ヒラギノ角ゴ ProN W3" pitchFamily="-84" charset="-128"/>
                <a:cs typeface="+mn-cs"/>
                <a:sym typeface="Arial" pitchFamily="34" charset="0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2C6C"/>
                </a:solidFill>
                <a:latin typeface="Arial" pitchFamily="34" charset="0"/>
                <a:ea typeface="ヒラギノ角ゴ ProN W3" pitchFamily="-84" charset="-128"/>
                <a:cs typeface="+mn-cs"/>
                <a:sym typeface="Arial" pitchFamily="34" charset="0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2C6C"/>
                </a:solidFill>
                <a:latin typeface="Arial" pitchFamily="34" charset="0"/>
                <a:ea typeface="ヒラギノ角ゴ ProN W3" pitchFamily="-84" charset="-128"/>
                <a:cs typeface="+mn-cs"/>
                <a:sym typeface="Arial" pitchFamily="34" charset="0"/>
              </a:defRPr>
            </a:lvl9pPr>
          </a:lstStyle>
          <a:p>
            <a:pPr eaLnBrk="1" hangingPunct="1"/>
            <a:fld id="{CA52EC25-A095-46FA-AFE1-0AAB0B4FEC2B}" type="slidenum">
              <a:rPr lang="en-US" altLang="en-US" sz="900" smtClean="0">
                <a:solidFill>
                  <a:srgbClr val="000000"/>
                </a:solidFill>
                <a:ea typeface="MS PGothic" pitchFamily="34" charset="-128"/>
              </a:rPr>
              <a:pPr eaLnBrk="1" hangingPunct="1"/>
              <a:t>55</a:t>
            </a:fld>
            <a:endParaRPr lang="en-US" altLang="en-US" sz="900">
              <a:solidFill>
                <a:srgbClr val="000000"/>
              </a:solidFill>
              <a:ea typeface="MS PGothic" pitchFamily="34" charset="-128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13372" y="3773055"/>
            <a:ext cx="2209800" cy="1928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48063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0" grpId="0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IE" sz="6200" b="1" smtClean="0">
                <a:solidFill>
                  <a:srgbClr val="091D67"/>
                </a:solidFill>
              </a:rPr>
              <a:t>What’s Next?</a:t>
            </a:r>
            <a:endParaRPr lang="en-GB" sz="6200" b="1" smtClean="0">
              <a:solidFill>
                <a:srgbClr val="091D67"/>
              </a:solidFill>
            </a:endParaRPr>
          </a:p>
        </p:txBody>
      </p:sp>
      <p:sp>
        <p:nvSpPr>
          <p:cNvPr id="614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1417638"/>
            <a:ext cx="8229600" cy="4525962"/>
          </a:xfrm>
          <a:noFill/>
        </p:spPr>
        <p:txBody>
          <a:bodyPr/>
          <a:lstStyle/>
          <a:p>
            <a:pPr eaLnBrk="1" hangingPunct="1">
              <a:buFontTx/>
              <a:buNone/>
            </a:pPr>
            <a:endParaRPr lang="en-IE" dirty="0" smtClean="0"/>
          </a:p>
          <a:p>
            <a:pPr eaLnBrk="1" hangingPunct="1"/>
            <a:r>
              <a:rPr lang="en-IE" dirty="0" smtClean="0"/>
              <a:t>Alert if shorter dated stock in fridge</a:t>
            </a:r>
          </a:p>
          <a:p>
            <a:pPr eaLnBrk="1" hangingPunct="1"/>
            <a:r>
              <a:rPr lang="en-IE" dirty="0" smtClean="0"/>
              <a:t>Alert if a patient has not scanned in 7 days</a:t>
            </a:r>
          </a:p>
          <a:p>
            <a:pPr eaLnBrk="1" hangingPunct="1"/>
            <a:r>
              <a:rPr lang="en-IE" dirty="0" smtClean="0"/>
              <a:t>Bolt on a QOL survey</a:t>
            </a:r>
          </a:p>
          <a:p>
            <a:pPr eaLnBrk="1" hangingPunct="1"/>
            <a:r>
              <a:rPr lang="en-IE" dirty="0" smtClean="0"/>
              <a:t>Apply </a:t>
            </a:r>
            <a:r>
              <a:rPr lang="en-IE" smtClean="0"/>
              <a:t>this model </a:t>
            </a:r>
            <a:r>
              <a:rPr lang="en-IE" dirty="0" smtClean="0"/>
              <a:t>to other disease groups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214374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IE" b="1" smtClean="0">
                <a:solidFill>
                  <a:srgbClr val="091D67"/>
                </a:solidFill>
              </a:rPr>
              <a:t>Conclusions</a:t>
            </a:r>
            <a:endParaRPr lang="en-GB" b="1" smtClean="0">
              <a:solidFill>
                <a:srgbClr val="091D67"/>
              </a:solidFill>
            </a:endParaRPr>
          </a:p>
        </p:txBody>
      </p:sp>
      <p:graphicFrame>
        <p:nvGraphicFramePr>
          <p:cNvPr id="193539" name="Group 3"/>
          <p:cNvGraphicFramePr>
            <a:graphicFrameLocks noGrp="1"/>
          </p:cNvGraphicFramePr>
          <p:nvPr/>
        </p:nvGraphicFramePr>
        <p:xfrm>
          <a:off x="-4206875" y="-19326225"/>
          <a:ext cx="1041400" cy="44165842"/>
        </p:xfrm>
        <a:graphic>
          <a:graphicData uri="http://schemas.openxmlformats.org/drawingml/2006/table">
            <a:tbl>
              <a:tblPr/>
              <a:tblGrid>
                <a:gridCol w="208280"/>
                <a:gridCol w="208280"/>
                <a:gridCol w="208280"/>
                <a:gridCol w="208280"/>
                <a:gridCol w="208280"/>
              </a:tblGrid>
              <a:tr h="1554491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TCP Batch Number &amp; expiry date per CFC per Patient/Hospital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I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816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582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TX Type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6969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7745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Product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6969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Benifix 1000 IU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816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02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Batch Number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Expiry Date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Name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Trans-Date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Total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062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LE07E055AA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31/10/2008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SJH, Blood Transfusion Lab.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06/09/2006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1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16154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 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05/09/2006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2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16154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 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27/09/2006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2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16154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 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08/09/2006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1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16154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 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15/09/2006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2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16154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 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08/11/2007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2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298706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Total issued to SJH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 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9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51816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 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 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329186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Total issued to OLCHC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11/09/2006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20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19202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Patient name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 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 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265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Home Patient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XXXX, XXXXXXX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11/09/2006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10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207265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Home Patient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XXXX, XXXXXXX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21/09/2006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25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207265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Home Patient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XXXX, XXXXXXX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01/09/2006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10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207265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Home Patient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XXXX, XXXXXXX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29/09/2006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6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207265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Home Patient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XXXX, XXXXXXX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21/09/2006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30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298706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 Issued to Patients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Arial Unicode MS" pitchFamily="34" charset="-128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493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176785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Grand TOTAL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62606" name="Rectangle 146"/>
          <p:cNvSpPr>
            <a:spLocks noChangeArrowheads="1"/>
          </p:cNvSpPr>
          <p:nvPr/>
        </p:nvSpPr>
        <p:spPr bwMode="auto">
          <a:xfrm>
            <a:off x="-4206875" y="25546050"/>
            <a:ext cx="17557750" cy="639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508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r>
              <a:rPr lang="en-IE" sz="1200" b="1">
                <a:latin typeface="Times New Roman" pitchFamily="18" charset="0"/>
                <a:cs typeface="Times New Roman" pitchFamily="18" charset="0"/>
              </a:rPr>
              <a:t>Appendix A</a:t>
            </a:r>
          </a:p>
          <a:p>
            <a:pPr eaLnBrk="0" hangingPunct="0"/>
            <a:r>
              <a:rPr lang="en-IE" sz="1200" b="1">
                <a:latin typeface="Times New Roman" pitchFamily="18" charset="0"/>
                <a:cs typeface="Times New Roman" pitchFamily="18" charset="0"/>
              </a:rPr>
              <a:t>																									</a:t>
            </a:r>
            <a:r>
              <a:rPr lang="en-GB" sz="1100">
                <a:latin typeface="Times New Roman" pitchFamily="18" charset="0"/>
              </a:rPr>
              <a:t> </a:t>
            </a:r>
            <a:endParaRPr lang="en-GB" sz="2400">
              <a:latin typeface="Times New Roman" pitchFamily="18" charset="0"/>
            </a:endParaRPr>
          </a:p>
        </p:txBody>
      </p:sp>
      <p:graphicFrame>
        <p:nvGraphicFramePr>
          <p:cNvPr id="193683" name="Group 147"/>
          <p:cNvGraphicFramePr>
            <a:graphicFrameLocks noGrp="1"/>
          </p:cNvGraphicFramePr>
          <p:nvPr/>
        </p:nvGraphicFramePr>
        <p:xfrm>
          <a:off x="-4206875" y="-19326225"/>
          <a:ext cx="1041400" cy="44165842"/>
        </p:xfrm>
        <a:graphic>
          <a:graphicData uri="http://schemas.openxmlformats.org/drawingml/2006/table">
            <a:tbl>
              <a:tblPr/>
              <a:tblGrid>
                <a:gridCol w="208280"/>
                <a:gridCol w="208280"/>
                <a:gridCol w="208280"/>
                <a:gridCol w="208280"/>
                <a:gridCol w="208280"/>
              </a:tblGrid>
              <a:tr h="1554491"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TCP Batch Number &amp; expiry date per CFC per Patient/Hospital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I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816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582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TX Type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6969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37745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Product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6969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Benifix 1000 IU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1816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02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Batch Number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Expiry Date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Name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Trans-Date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Total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062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LE07E055AA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31/10/2008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SJH, Blood Transfusion Lab.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06/09/2006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1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16154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 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05/09/2006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2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16154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 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27/09/2006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2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16154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 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08/09/2006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1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16154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 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15/09/2006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2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16154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 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08/11/2007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2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298706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Total issued to SJH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 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9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51816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 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 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329186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Total issued to OLCHC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11/09/2006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20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19202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Patient name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 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 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265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Home Patient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XXXX, XXXXXXX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11/09/2006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10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207265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Home Patient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XXXX, XXXXXXX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21/09/2006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25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207265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Home Patient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XXXX, XXXXXXX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01/09/2006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10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207265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Home Patient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XXXX, XXXXXXX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29/09/2006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6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207265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Home Patient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XXXX, XXXXXXX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21/09/2006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30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298706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cap="flat"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 Issued to Patients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Arial Unicode MS" pitchFamily="34" charset="-128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493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176785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IE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Times New Roman" pitchFamily="18" charset="0"/>
                          <a:cs typeface="Arial" charset="0"/>
                        </a:rPr>
                        <a:t>Grand TOTAL</a:t>
                      </a:r>
                      <a:endParaRPr kumimoji="0" lang="en-IE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Times New Roman" pitchFamily="18" charset="0"/>
                        <a:cs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62746" name="Rectangle 290"/>
          <p:cNvSpPr>
            <a:spLocks noChangeArrowheads="1"/>
          </p:cNvSpPr>
          <p:nvPr/>
        </p:nvSpPr>
        <p:spPr bwMode="auto">
          <a:xfrm>
            <a:off x="-4206875" y="25546050"/>
            <a:ext cx="17557750" cy="639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508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r>
              <a:rPr lang="en-IE" sz="1200" b="1">
                <a:latin typeface="Times New Roman" pitchFamily="18" charset="0"/>
                <a:cs typeface="Times New Roman" pitchFamily="18" charset="0"/>
              </a:rPr>
              <a:t>Appendix A</a:t>
            </a:r>
          </a:p>
          <a:p>
            <a:pPr eaLnBrk="0" hangingPunct="0"/>
            <a:r>
              <a:rPr lang="en-IE" sz="1200" b="1">
                <a:latin typeface="Times New Roman" pitchFamily="18" charset="0"/>
                <a:cs typeface="Times New Roman" pitchFamily="18" charset="0"/>
              </a:rPr>
              <a:t>																									</a:t>
            </a:r>
            <a:r>
              <a:rPr lang="en-GB" sz="1100">
                <a:latin typeface="Times New Roman" pitchFamily="18" charset="0"/>
              </a:rPr>
              <a:t> </a:t>
            </a:r>
            <a:endParaRPr lang="en-GB" sz="2400">
              <a:latin typeface="Times New Roman" pitchFamily="18" charset="0"/>
            </a:endParaRPr>
          </a:p>
        </p:txBody>
      </p:sp>
      <p:sp>
        <p:nvSpPr>
          <p:cNvPr id="62747" name="Text Box 291"/>
          <p:cNvSpPr txBox="1">
            <a:spLocks noChangeArrowheads="1"/>
          </p:cNvSpPr>
          <p:nvPr/>
        </p:nvSpPr>
        <p:spPr bwMode="auto">
          <a:xfrm>
            <a:off x="900113" y="2133600"/>
            <a:ext cx="6408737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508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>
              <a:latin typeface="Verdana" pitchFamily="34" charset="0"/>
            </a:endParaRPr>
          </a:p>
        </p:txBody>
      </p:sp>
      <p:sp>
        <p:nvSpPr>
          <p:cNvPr id="193828" name="Text Box 292"/>
          <p:cNvSpPr txBox="1">
            <a:spLocks noChangeArrowheads="1"/>
          </p:cNvSpPr>
          <p:nvPr/>
        </p:nvSpPr>
        <p:spPr bwMode="auto">
          <a:xfrm>
            <a:off x="1115616" y="1340768"/>
            <a:ext cx="6408737" cy="42473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508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algn="ctr" eaLnBrk="1" hangingPunct="1">
              <a:spcBef>
                <a:spcPct val="50000"/>
              </a:spcBef>
              <a:buFont typeface="Verdana" pitchFamily="34" charset="0"/>
              <a:buChar char="•"/>
            </a:pPr>
            <a:r>
              <a:rPr lang="en-IE" b="1" dirty="0"/>
              <a:t>Measures need to be implemented to ensure patient safety</a:t>
            </a:r>
          </a:p>
          <a:p>
            <a:pPr lvl="1" algn="ctr" eaLnBrk="1" hangingPunct="1">
              <a:spcBef>
                <a:spcPct val="50000"/>
              </a:spcBef>
              <a:buFont typeface="Verdana" pitchFamily="34" charset="0"/>
              <a:buChar char="•"/>
            </a:pPr>
            <a:r>
              <a:rPr lang="en-IE" b="1" dirty="0"/>
              <a:t>Measures need to be implemented to help Anti counterfeiting</a:t>
            </a:r>
          </a:p>
          <a:p>
            <a:pPr lvl="1" algn="ctr" eaLnBrk="1" hangingPunct="1">
              <a:spcBef>
                <a:spcPct val="50000"/>
              </a:spcBef>
              <a:buFont typeface="Verdana" pitchFamily="34" charset="0"/>
              <a:buChar char="•"/>
            </a:pPr>
            <a:r>
              <a:rPr lang="en-IE" b="1" dirty="0"/>
              <a:t> </a:t>
            </a:r>
            <a:r>
              <a:rPr lang="en-IE" b="1" dirty="0" smtClean="0"/>
              <a:t>Measures </a:t>
            </a:r>
            <a:r>
              <a:rPr lang="en-IE" b="1" dirty="0"/>
              <a:t>need to be implemented to improve Supply Chain </a:t>
            </a:r>
            <a:r>
              <a:rPr lang="en-IE" b="1" dirty="0" smtClean="0"/>
              <a:t>efficiency (reduce costs)</a:t>
            </a:r>
            <a:endParaRPr lang="en-IE" b="1" dirty="0"/>
          </a:p>
          <a:p>
            <a:pPr lvl="1" algn="ctr" eaLnBrk="1" hangingPunct="1">
              <a:spcBef>
                <a:spcPct val="50000"/>
              </a:spcBef>
              <a:buFont typeface="Verdana" pitchFamily="34" charset="0"/>
              <a:buChar char="•"/>
            </a:pPr>
            <a:r>
              <a:rPr lang="en-IE" b="1" dirty="0"/>
              <a:t>Barcodes work!</a:t>
            </a:r>
          </a:p>
          <a:p>
            <a:pPr lvl="1" algn="ctr" eaLnBrk="1" hangingPunct="1">
              <a:spcBef>
                <a:spcPct val="50000"/>
              </a:spcBef>
              <a:buFont typeface="Verdana" pitchFamily="34" charset="0"/>
              <a:buChar char="•"/>
            </a:pPr>
            <a:r>
              <a:rPr lang="en-IE" b="1" dirty="0" smtClean="0"/>
              <a:t>Standards are the key</a:t>
            </a:r>
            <a:endParaRPr lang="en-IE" b="1" dirty="0"/>
          </a:p>
          <a:p>
            <a:pPr lvl="1" algn="ctr" eaLnBrk="1" hangingPunct="1">
              <a:spcBef>
                <a:spcPct val="50000"/>
              </a:spcBef>
              <a:buFont typeface="Verdana" pitchFamily="34" charset="0"/>
              <a:buChar char="•"/>
            </a:pPr>
            <a:r>
              <a:rPr lang="en-IE" b="1" dirty="0" smtClean="0"/>
              <a:t>Standards and technology </a:t>
            </a:r>
            <a:r>
              <a:rPr lang="en-IE" b="1" dirty="0"/>
              <a:t>already exists to help improve patient safety and reduce supply chain costs</a:t>
            </a:r>
          </a:p>
          <a:p>
            <a:pPr lvl="1" algn="ctr" eaLnBrk="1" hangingPunct="1">
              <a:spcBef>
                <a:spcPct val="50000"/>
              </a:spcBef>
              <a:buFont typeface="Verdana" pitchFamily="34" charset="0"/>
              <a:buNone/>
            </a:pP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3572554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8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938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with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3" presetClass="entr" presetSubtype="1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82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" dur="500"/>
                                        <p:tgtEl>
                                          <p:spTgt spid="19382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withGroup">
                            <p:stCondLst>
                              <p:cond delay="1500"/>
                            </p:stCondLst>
                            <p:childTnLst>
                              <p:par>
                                <p:cTn id="13" presetID="3" presetClass="entr" presetSubtype="1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82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19382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withGroup">
                            <p:stCondLst>
                              <p:cond delay="2500"/>
                            </p:stCondLst>
                            <p:childTnLst>
                              <p:par>
                                <p:cTn id="17" presetID="3" presetClass="entr" presetSubtype="1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82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19382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withGroup">
                            <p:stCondLst>
                              <p:cond delay="3500"/>
                            </p:stCondLst>
                            <p:childTnLst>
                              <p:par>
                                <p:cTn id="21" presetID="3" presetClass="entr" presetSubtype="1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82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19382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withGroup">
                            <p:stCondLst>
                              <p:cond delay="4500"/>
                            </p:stCondLst>
                            <p:childTnLst>
                              <p:par>
                                <p:cTn id="25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82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19382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2"/>
          <p:cNvSpPr>
            <a:spLocks noGrp="1" noChangeArrowheads="1"/>
          </p:cNvSpPr>
          <p:nvPr>
            <p:ph type="title"/>
          </p:nvPr>
        </p:nvSpPr>
        <p:spPr>
          <a:xfrm>
            <a:off x="592138" y="476250"/>
            <a:ext cx="7789862" cy="936625"/>
          </a:xfrm>
        </p:spPr>
        <p:txBody>
          <a:bodyPr/>
          <a:lstStyle/>
          <a:p>
            <a:pPr eaLnBrk="1" hangingPunct="1"/>
            <a:r>
              <a:rPr lang="en-IE" sz="3600" b="1" dirty="0" smtClean="0">
                <a:solidFill>
                  <a:srgbClr val="091D67"/>
                </a:solidFill>
              </a:rPr>
              <a:t>Our patients….your citizens!</a:t>
            </a:r>
            <a:endParaRPr lang="en-GB" sz="3600" b="1" dirty="0" smtClean="0">
              <a:solidFill>
                <a:srgbClr val="091D67"/>
              </a:solidFill>
            </a:endParaRPr>
          </a:p>
        </p:txBody>
      </p:sp>
      <p:sp>
        <p:nvSpPr>
          <p:cNvPr id="63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en-US" smtClean="0"/>
          </a:p>
        </p:txBody>
      </p:sp>
      <p:pic>
        <p:nvPicPr>
          <p:cNvPr id="63492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8200" y="1371600"/>
            <a:ext cx="7543800" cy="4406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1793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IE" b="1" smtClean="0">
                <a:solidFill>
                  <a:srgbClr val="091D67"/>
                </a:solidFill>
              </a:rPr>
              <a:t>Acknowledgements</a:t>
            </a:r>
            <a:endParaRPr lang="en-GB" b="1" smtClean="0">
              <a:solidFill>
                <a:srgbClr val="091D67"/>
              </a:solidFill>
            </a:endParaRPr>
          </a:p>
        </p:txBody>
      </p:sp>
      <p:sp>
        <p:nvSpPr>
          <p:cNvPr id="3246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buFontTx/>
              <a:buNone/>
              <a:defRPr/>
            </a:pPr>
            <a:r>
              <a:rPr lang="en-IE" dirty="0" smtClean="0"/>
              <a:t>All staff in National Centre for Hereditary Coagulation Disorders, in particular…..</a:t>
            </a:r>
          </a:p>
          <a:p>
            <a:pPr eaLnBrk="1" hangingPunct="1">
              <a:buFontTx/>
              <a:buNone/>
              <a:defRPr/>
            </a:pPr>
            <a:endParaRPr lang="en-IE" dirty="0" smtClean="0"/>
          </a:p>
          <a:p>
            <a:pPr eaLnBrk="1" hangingPunct="1">
              <a:defRPr/>
            </a:pPr>
            <a:r>
              <a:rPr lang="en-IE" sz="2000" b="1" dirty="0" smtClean="0"/>
              <a:t>Dr. Barry White </a:t>
            </a:r>
            <a:r>
              <a:rPr lang="en-IE" sz="2000" dirty="0" smtClean="0"/>
              <a:t>(Clinical Director)</a:t>
            </a:r>
          </a:p>
          <a:p>
            <a:pPr eaLnBrk="1" hangingPunct="1">
              <a:defRPr/>
            </a:pPr>
            <a:endParaRPr lang="en-IE" sz="2000" dirty="0" smtClean="0"/>
          </a:p>
          <a:p>
            <a:pPr eaLnBrk="1" hangingPunct="1">
              <a:defRPr/>
            </a:pPr>
            <a:r>
              <a:rPr lang="en-IE" sz="2000" b="1" dirty="0" smtClean="0"/>
              <a:t>Evelyn Singleton</a:t>
            </a:r>
            <a:r>
              <a:rPr lang="en-IE" sz="2000" dirty="0" smtClean="0"/>
              <a:t> (</a:t>
            </a:r>
            <a:r>
              <a:rPr lang="en-IE" sz="2000" dirty="0"/>
              <a:t>National Co-ordinator for </a:t>
            </a:r>
            <a:r>
              <a:rPr lang="en-IE" sz="2000" dirty="0" smtClean="0"/>
              <a:t>CFC)</a:t>
            </a:r>
          </a:p>
          <a:p>
            <a:pPr eaLnBrk="1" hangingPunct="1">
              <a:defRPr/>
            </a:pPr>
            <a:endParaRPr lang="en-IE" sz="2000" dirty="0" smtClean="0"/>
          </a:p>
          <a:p>
            <a:pPr eaLnBrk="1" hangingPunct="1">
              <a:defRPr/>
            </a:pPr>
            <a:r>
              <a:rPr lang="en-IE" sz="2000" b="1" dirty="0" smtClean="0"/>
              <a:t>Rachel Bird</a:t>
            </a:r>
            <a:r>
              <a:rPr lang="en-IE" sz="2000" dirty="0" smtClean="0"/>
              <a:t> (National Haemophilia system data manager)</a:t>
            </a:r>
          </a:p>
          <a:p>
            <a:pPr marL="0" indent="0" eaLnBrk="1" hangingPunct="1">
              <a:buFontTx/>
              <a:buNone/>
              <a:defRPr/>
            </a:pPr>
            <a:endParaRPr lang="en-IE" sz="2000" dirty="0" smtClean="0"/>
          </a:p>
          <a:p>
            <a:pPr eaLnBrk="1" hangingPunct="1">
              <a:defRPr/>
            </a:pPr>
            <a:r>
              <a:rPr lang="en-IE" sz="2000" b="1" dirty="0" smtClean="0"/>
              <a:t>Vincent Callan (</a:t>
            </a:r>
            <a:r>
              <a:rPr lang="en-IE" sz="2000" dirty="0" smtClean="0"/>
              <a:t>Director of Facilities Management)</a:t>
            </a:r>
            <a:endParaRPr lang="en-GB" sz="2000" dirty="0" smtClean="0"/>
          </a:p>
        </p:txBody>
      </p:sp>
    </p:spTree>
    <p:extLst>
      <p:ext uri="{BB962C8B-B14F-4D97-AF65-F5344CB8AC3E}">
        <p14:creationId xmlns:p14="http://schemas.microsoft.com/office/powerpoint/2010/main" val="794897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611188" y="549275"/>
            <a:ext cx="6877050" cy="936625"/>
          </a:xfrm>
        </p:spPr>
        <p:txBody>
          <a:bodyPr/>
          <a:lstStyle/>
          <a:p>
            <a:pPr eaLnBrk="1" hangingPunct="1"/>
            <a:r>
              <a:rPr lang="en-IE" b="1" dirty="0" smtClean="0">
                <a:solidFill>
                  <a:srgbClr val="091D67"/>
                </a:solidFill>
              </a:rPr>
              <a:t>Sounds obvious?</a:t>
            </a:r>
            <a:endParaRPr lang="en-GB" b="1" dirty="0" smtClean="0">
              <a:solidFill>
                <a:srgbClr val="091D67"/>
              </a:solidFill>
            </a:endParaRPr>
          </a:p>
        </p:txBody>
      </p:sp>
      <p:sp>
        <p:nvSpPr>
          <p:cNvPr id="8195" name="Rectangle 3"/>
          <p:cNvSpPr>
            <a:spLocks noGrp="1" noChangeArrowheads="1"/>
          </p:cNvSpPr>
          <p:nvPr>
            <p:ph sz="half" idx="4294967295"/>
          </p:nvPr>
        </p:nvSpPr>
        <p:spPr>
          <a:xfrm>
            <a:off x="514350" y="2263775"/>
            <a:ext cx="8305800" cy="2330450"/>
          </a:xfrm>
        </p:spPr>
        <p:txBody>
          <a:bodyPr>
            <a:normAutofit fontScale="92500" lnSpcReduction="20000"/>
          </a:bodyPr>
          <a:lstStyle/>
          <a:p>
            <a:pPr marL="0" indent="0" eaLnBrk="1" hangingPunct="1">
              <a:buFontTx/>
              <a:buNone/>
              <a:defRPr/>
            </a:pPr>
            <a:r>
              <a:rPr lang="en-GB" b="1" dirty="0" smtClean="0"/>
              <a:t>Medicines are supposed to save lives…</a:t>
            </a:r>
          </a:p>
          <a:p>
            <a:pPr marL="0" indent="0" eaLnBrk="1" hangingPunct="1">
              <a:buFontTx/>
              <a:buNone/>
              <a:defRPr/>
            </a:pPr>
            <a:r>
              <a:rPr lang="en-GB" dirty="0" smtClean="0"/>
              <a:t>	</a:t>
            </a:r>
          </a:p>
          <a:p>
            <a:pPr marL="0" indent="0" eaLnBrk="1" hangingPunct="1">
              <a:buFontTx/>
              <a:buNone/>
              <a:defRPr/>
            </a:pPr>
            <a:r>
              <a:rPr lang="en-GB" i="1" dirty="0" smtClean="0"/>
              <a:t>Dying from a disease is sometimes unavoidable; dying from a medicine is unacceptable. </a:t>
            </a:r>
          </a:p>
          <a:p>
            <a:pPr marL="0" indent="0" algn="r" eaLnBrk="1" hangingPunct="1">
              <a:buFontTx/>
              <a:buNone/>
              <a:defRPr/>
            </a:pPr>
            <a:r>
              <a:rPr lang="en-GB" sz="1400" i="1" dirty="0" smtClean="0"/>
              <a:t>(Lepakhin V. Geneva 2005)</a:t>
            </a:r>
            <a:endParaRPr lang="en-US" sz="1400" i="1" dirty="0" smtClean="0"/>
          </a:p>
          <a:p>
            <a:pPr marL="0" indent="0" eaLnBrk="1" hangingPunct="1">
              <a:buFontTx/>
              <a:buNone/>
              <a:defRPr/>
            </a:pPr>
            <a:endParaRPr lang="en-GB" sz="1400" dirty="0" smtClean="0"/>
          </a:p>
        </p:txBody>
      </p:sp>
    </p:spTree>
    <p:extLst>
      <p:ext uri="{BB962C8B-B14F-4D97-AF65-F5344CB8AC3E}">
        <p14:creationId xmlns:p14="http://schemas.microsoft.com/office/powerpoint/2010/main" val="2121801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IE" b="1" dirty="0" smtClean="0">
                <a:solidFill>
                  <a:srgbClr val="002060"/>
                </a:solidFill>
              </a:rPr>
              <a:t>Remember, standards are just a tool……..</a:t>
            </a:r>
            <a:endParaRPr lang="en-IE" b="1" dirty="0">
              <a:solidFill>
                <a:srgbClr val="002060"/>
              </a:solidFill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556792"/>
            <a:ext cx="8280920" cy="49960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03949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b="1" smtClean="0">
                <a:solidFill>
                  <a:srgbClr val="091D67"/>
                </a:solidFill>
              </a:rPr>
              <a:t>Thank you for listening</a:t>
            </a:r>
            <a:endParaRPr lang="en-US" b="1" smtClean="0">
              <a:solidFill>
                <a:srgbClr val="091D67"/>
              </a:solidFill>
            </a:endParaRPr>
          </a:p>
        </p:txBody>
      </p:sp>
      <p:pic>
        <p:nvPicPr>
          <p:cNvPr id="49155" name="Picture 3" descr="Tired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5400" y="1905000"/>
            <a:ext cx="6248400" cy="449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35289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b="1" smtClean="0">
                <a:solidFill>
                  <a:srgbClr val="091D67"/>
                </a:solidFill>
                <a:latin typeface="Tahoma" pitchFamily="34" charset="0"/>
              </a:rPr>
              <a:t>Any Questions ?</a:t>
            </a:r>
            <a:endParaRPr lang="en-US" b="1" smtClean="0">
              <a:solidFill>
                <a:srgbClr val="091D67"/>
              </a:solidFill>
              <a:latin typeface="Tahoma" pitchFamily="34" charset="0"/>
            </a:endParaRPr>
          </a:p>
        </p:txBody>
      </p:sp>
      <p:pic>
        <p:nvPicPr>
          <p:cNvPr id="50179" name="Picture 3" descr="CatHandsUp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09800" y="2057400"/>
            <a:ext cx="4953000" cy="3733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49509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487706" y="2132856"/>
            <a:ext cx="7885112" cy="936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IE" b="1" dirty="0" smtClean="0">
                <a:solidFill>
                  <a:srgbClr val="091D67"/>
                </a:solidFill>
              </a:rPr>
              <a:t>Lets look at the legitimate supply chain</a:t>
            </a:r>
            <a:endParaRPr lang="en-GB" b="1" dirty="0" smtClean="0">
              <a:solidFill>
                <a:srgbClr val="091D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7555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extBox 1"/>
          <p:cNvSpPr txBox="1">
            <a:spLocks noChangeArrowheads="1"/>
          </p:cNvSpPr>
          <p:nvPr/>
        </p:nvSpPr>
        <p:spPr bwMode="auto">
          <a:xfrm>
            <a:off x="0" y="5575300"/>
            <a:ext cx="9144000" cy="10795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>
              <a:cs typeface="Arial" charset="0"/>
            </a:endParaRPr>
          </a:p>
        </p:txBody>
      </p:sp>
      <p:pic>
        <p:nvPicPr>
          <p:cNvPr id="10244" name="Picture 3"/>
          <p:cNvPicPr>
            <a:picLocks noGrp="1" noChangeAspect="1" noChangeArrowheads="1"/>
          </p:cNvPicPr>
          <p:nvPr>
            <p:ph sz="half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85775" y="1612241"/>
            <a:ext cx="8172450" cy="4560887"/>
          </a:xfrm>
        </p:spPr>
      </p:pic>
      <p:sp>
        <p:nvSpPr>
          <p:cNvPr id="10243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68313" y="333375"/>
            <a:ext cx="7885112" cy="936625"/>
          </a:xfrm>
        </p:spPr>
        <p:txBody>
          <a:bodyPr/>
          <a:lstStyle/>
          <a:p>
            <a:pPr eaLnBrk="1" hangingPunct="1"/>
            <a:r>
              <a:rPr lang="en-IE" b="1" dirty="0" err="1" smtClean="0">
                <a:solidFill>
                  <a:srgbClr val="091D67"/>
                </a:solidFill>
              </a:rPr>
              <a:t>Pharma</a:t>
            </a:r>
            <a:r>
              <a:rPr lang="en-IE" b="1" dirty="0" smtClean="0">
                <a:solidFill>
                  <a:srgbClr val="091D67"/>
                </a:solidFill>
              </a:rPr>
              <a:t> Drug manufacturing</a:t>
            </a:r>
            <a:endParaRPr lang="en-GB" b="1" dirty="0" smtClean="0">
              <a:solidFill>
                <a:srgbClr val="091D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470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539750" y="384175"/>
            <a:ext cx="8424863" cy="936625"/>
          </a:xfrm>
        </p:spPr>
        <p:txBody>
          <a:bodyPr/>
          <a:lstStyle/>
          <a:p>
            <a:pPr eaLnBrk="1" hangingPunct="1"/>
            <a:r>
              <a:rPr lang="en-IE" b="1" smtClean="0">
                <a:solidFill>
                  <a:srgbClr val="091D67"/>
                </a:solidFill>
              </a:rPr>
              <a:t>Drug development….excellent!</a:t>
            </a:r>
            <a:endParaRPr lang="en-GB" b="1" smtClean="0">
              <a:solidFill>
                <a:srgbClr val="091D67"/>
              </a:solidFill>
            </a:endParaRPr>
          </a:p>
        </p:txBody>
      </p:sp>
      <p:pic>
        <p:nvPicPr>
          <p:cNvPr id="11267" name="Picture 3"/>
          <p:cNvPicPr>
            <a:picLocks noGrp="1" noChangeAspect="1" noChangeArrowheads="1"/>
          </p:cNvPicPr>
          <p:nvPr>
            <p:ph sz="half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312863" y="1697038"/>
            <a:ext cx="6575425" cy="4381500"/>
          </a:xfrm>
        </p:spPr>
      </p:pic>
    </p:spTree>
    <p:extLst>
      <p:ext uri="{BB962C8B-B14F-4D97-AF65-F5344CB8AC3E}">
        <p14:creationId xmlns:p14="http://schemas.microsoft.com/office/powerpoint/2010/main" val="180901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_PjYsuL0KQwH87E5Onqg"/>
</p:tagLst>
</file>

<file path=ppt/theme/theme1.xml><?xml version="1.0" encoding="utf-8"?>
<a:theme xmlns:a="http://schemas.openxmlformats.org/drawingml/2006/main" name="Default Design">
  <a:themeElements>
    <a:clrScheme name="Default Design 14">
      <a:dk1>
        <a:srgbClr val="0E2FAD"/>
      </a:dk1>
      <a:lt1>
        <a:srgbClr val="FFFFFF"/>
      </a:lt1>
      <a:dk2>
        <a:srgbClr val="0E2FAD"/>
      </a:dk2>
      <a:lt2>
        <a:srgbClr val="B3CCE6"/>
      </a:lt2>
      <a:accent1>
        <a:srgbClr val="7FD7FC"/>
      </a:accent1>
      <a:accent2>
        <a:srgbClr val="6BA7F8"/>
      </a:accent2>
      <a:accent3>
        <a:srgbClr val="FFFFFF"/>
      </a:accent3>
      <a:accent4>
        <a:srgbClr val="0A2793"/>
      </a:accent4>
      <a:accent5>
        <a:srgbClr val="C0E8FD"/>
      </a:accent5>
      <a:accent6>
        <a:srgbClr val="6097E1"/>
      </a:accent6>
      <a:hlink>
        <a:srgbClr val="FF9D3B"/>
      </a:hlink>
      <a:folHlink>
        <a:srgbClr val="007B7E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E2FAD"/>
        </a:dk1>
        <a:lt1>
          <a:srgbClr val="FFFFFF"/>
        </a:lt1>
        <a:dk2>
          <a:srgbClr val="0E2FAD"/>
        </a:dk2>
        <a:lt2>
          <a:srgbClr val="B3CCE6"/>
        </a:lt2>
        <a:accent1>
          <a:srgbClr val="7FD7FC"/>
        </a:accent1>
        <a:accent2>
          <a:srgbClr val="6BA7F8"/>
        </a:accent2>
        <a:accent3>
          <a:srgbClr val="FFFFFF"/>
        </a:accent3>
        <a:accent4>
          <a:srgbClr val="0A2793"/>
        </a:accent4>
        <a:accent5>
          <a:srgbClr val="C0E8FD"/>
        </a:accent5>
        <a:accent6>
          <a:srgbClr val="6097E1"/>
        </a:accent6>
        <a:hlink>
          <a:srgbClr val="FFAB57"/>
        </a:hlink>
        <a:folHlink>
          <a:srgbClr val="007B7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E2FAD"/>
        </a:dk1>
        <a:lt1>
          <a:srgbClr val="FFFFFF"/>
        </a:lt1>
        <a:dk2>
          <a:srgbClr val="0E2FAD"/>
        </a:dk2>
        <a:lt2>
          <a:srgbClr val="B3CCE6"/>
        </a:lt2>
        <a:accent1>
          <a:srgbClr val="7FD7FC"/>
        </a:accent1>
        <a:accent2>
          <a:srgbClr val="6BA7F8"/>
        </a:accent2>
        <a:accent3>
          <a:srgbClr val="FFFFFF"/>
        </a:accent3>
        <a:accent4>
          <a:srgbClr val="0A2793"/>
        </a:accent4>
        <a:accent5>
          <a:srgbClr val="C0E8FD"/>
        </a:accent5>
        <a:accent6>
          <a:srgbClr val="6097E1"/>
        </a:accent6>
        <a:hlink>
          <a:srgbClr val="FF9D3B"/>
        </a:hlink>
        <a:folHlink>
          <a:srgbClr val="007B7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620</TotalTime>
  <Words>1864</Words>
  <Application>Microsoft Office PowerPoint</Application>
  <PresentationFormat>On-screen Show (4:3)</PresentationFormat>
  <Paragraphs>402</Paragraphs>
  <Slides>62</Slides>
  <Notes>12</Notes>
  <HiddenSlides>0</HiddenSlides>
  <MMClips>1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2</vt:i4>
      </vt:variant>
    </vt:vector>
  </HeadingPairs>
  <TitlesOfParts>
    <vt:vector size="73" baseType="lpstr">
      <vt:lpstr>Arial Unicode MS</vt:lpstr>
      <vt:lpstr>Malgun Gothic</vt:lpstr>
      <vt:lpstr>MS PGothic</vt:lpstr>
      <vt:lpstr>MS PGothic</vt:lpstr>
      <vt:lpstr>Arial</vt:lpstr>
      <vt:lpstr>Calibri</vt:lpstr>
      <vt:lpstr>Tahoma</vt:lpstr>
      <vt:lpstr>Times New Roman</vt:lpstr>
      <vt:lpstr>Verdana</vt:lpstr>
      <vt:lpstr>Wingdings</vt:lpstr>
      <vt:lpstr>Default Design</vt:lpstr>
      <vt:lpstr>PowerPoint Presentation</vt:lpstr>
      <vt:lpstr>Agenda</vt:lpstr>
      <vt:lpstr>PowerPoint Presentation</vt:lpstr>
      <vt:lpstr>To prevent communication misunderstanding!</vt:lpstr>
      <vt:lpstr>PowerPoint Presentation</vt:lpstr>
      <vt:lpstr>Sounds obvious?</vt:lpstr>
      <vt:lpstr>PowerPoint Presentation</vt:lpstr>
      <vt:lpstr>Pharma Drug manufacturing</vt:lpstr>
      <vt:lpstr>Drug development….excellent!</vt:lpstr>
      <vt:lpstr>Quality and Validation…excellent!</vt:lpstr>
      <vt:lpstr>Pharma Supply Chain… excellent!</vt:lpstr>
      <vt:lpstr>And then after 17 years development what do they do…?</vt:lpstr>
      <vt:lpstr>When the drug gets to the patient….  Not counterfeit but just as dangerous!</vt:lpstr>
      <vt:lpstr>How did this happen?</vt:lpstr>
      <vt:lpstr>Do these suffer from any of the causes listed?</vt:lpstr>
      <vt:lpstr>Benefits for Patient Safety</vt:lpstr>
      <vt:lpstr>PowerPoint Presentation</vt:lpstr>
      <vt:lpstr>First Barcode scanned in Healthcare…..1991…but</vt:lpstr>
      <vt:lpstr>PowerPoint Presentation</vt:lpstr>
      <vt:lpstr>..in Healthcare  it is dangerous and ineffecient!</vt:lpstr>
      <vt:lpstr>PowerPoint Presentation</vt:lpstr>
      <vt:lpstr>GS1 Healthcare - Voluntary, Global  User Group</vt:lpstr>
      <vt:lpstr>PowerPoint Presentation</vt:lpstr>
      <vt:lpstr>PowerPoint Presentation</vt:lpstr>
      <vt:lpstr>Huge cost savings and patient safety benefits when adopting a single global standard in healthcare</vt:lpstr>
      <vt:lpstr>Imagine….</vt:lpstr>
      <vt:lpstr>Case Study</vt:lpstr>
      <vt:lpstr>National Centre for Hereditary Coagulation Disorders (NCHCD)</vt:lpstr>
      <vt:lpstr>What is Haemophilia and why is traceability important?</vt:lpstr>
      <vt:lpstr>PowerPoint Presentation</vt:lpstr>
      <vt:lpstr>What triggered the initiative?</vt:lpstr>
      <vt:lpstr>Lindsay Report 2001</vt:lpstr>
      <vt:lpstr>Medication Supply chain…..where we were</vt:lpstr>
      <vt:lpstr>Redesign the Supply Chain</vt:lpstr>
      <vt:lpstr>PowerPoint Presentation</vt:lpstr>
      <vt:lpstr>Piece missing!</vt:lpstr>
      <vt:lpstr>GS1 Global standards!</vt:lpstr>
      <vt:lpstr>Solution – Adopt the Retail Track and Trace  Model based on GS1 Standards</vt:lpstr>
      <vt:lpstr>Solution</vt:lpstr>
      <vt:lpstr>PowerPoint Presentation</vt:lpstr>
      <vt:lpstr>Capture</vt:lpstr>
      <vt:lpstr>Share</vt:lpstr>
      <vt:lpstr> Smartphones with scanning App</vt:lpstr>
      <vt:lpstr>PowerPoint Presentation</vt:lpstr>
      <vt:lpstr>Log-in</vt:lpstr>
      <vt:lpstr>Scan Product</vt:lpstr>
      <vt:lpstr>Process Complete</vt:lpstr>
      <vt:lpstr>Share</vt:lpstr>
      <vt:lpstr>Share</vt:lpstr>
      <vt:lpstr>PowerPoint Presentation</vt:lpstr>
      <vt:lpstr>Outcomes/ROI</vt:lpstr>
      <vt:lpstr>Patient usage trends</vt:lpstr>
      <vt:lpstr>Immediate outcomes post implementation of smartphone App  (launched June 2010)</vt:lpstr>
      <vt:lpstr>Where we are</vt:lpstr>
      <vt:lpstr>PowerPoint Presentation</vt:lpstr>
      <vt:lpstr>What’s Next?</vt:lpstr>
      <vt:lpstr>Conclusions</vt:lpstr>
      <vt:lpstr>Our patients….your citizens!</vt:lpstr>
      <vt:lpstr>Acknowledgements</vt:lpstr>
      <vt:lpstr>Remember, standards are just a tool……..</vt:lpstr>
      <vt:lpstr>Thank you for listening</vt:lpstr>
      <vt:lpstr>Any Questions ?</vt:lpstr>
    </vt:vector>
  </TitlesOfParts>
  <Company>St Jame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c Groarty, Feargal</dc:creator>
  <cp:lastModifiedBy>Cristina Roquero Alvarez</cp:lastModifiedBy>
  <cp:revision>83</cp:revision>
  <dcterms:created xsi:type="dcterms:W3CDTF">2014-12-05T12:23:56Z</dcterms:created>
  <dcterms:modified xsi:type="dcterms:W3CDTF">2016-05-09T12:57:10Z</dcterms:modified>
</cp:coreProperties>
</file>